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2"/>
  </p:notesMasterIdLst>
  <p:sldIdLst>
    <p:sldId id="3832" r:id="rId2"/>
    <p:sldId id="510" r:id="rId3"/>
    <p:sldId id="3833" r:id="rId4"/>
    <p:sldId id="444" r:id="rId5"/>
    <p:sldId id="3834" r:id="rId6"/>
    <p:sldId id="2293" r:id="rId7"/>
    <p:sldId id="374" r:id="rId8"/>
    <p:sldId id="3835" r:id="rId9"/>
    <p:sldId id="3830" r:id="rId10"/>
    <p:sldId id="365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F8FA06E-ABFA-43C0-BF02-07457EFA7622}">
          <p14:sldIdLst>
            <p14:sldId id="3832"/>
            <p14:sldId id="510"/>
            <p14:sldId id="3833"/>
            <p14:sldId id="444"/>
            <p14:sldId id="3834"/>
            <p14:sldId id="2293"/>
            <p14:sldId id="374"/>
            <p14:sldId id="3835"/>
            <p14:sldId id="3830"/>
            <p14:sldId id="36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chaefer, Michelle" initials="SM" lastIdx="1" clrIdx="0">
    <p:extLst>
      <p:ext uri="{19B8F6BF-5375-455C-9EA6-DF929625EA0E}">
        <p15:presenceInfo xmlns:p15="http://schemas.microsoft.com/office/powerpoint/2012/main" userId="S-1-5-21-3567637-1906459281-1427260136-178346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EDC6"/>
    <a:srgbClr val="CFEFCD"/>
    <a:srgbClr val="C0E1FF"/>
    <a:srgbClr val="EC7653"/>
    <a:srgbClr val="D45D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034" autoAdjust="0"/>
    <p:restoredTop sz="96190" autoAdjust="0"/>
  </p:normalViewPr>
  <p:slideViewPr>
    <p:cSldViewPr>
      <p:cViewPr varScale="1">
        <p:scale>
          <a:sx n="123" d="100"/>
          <a:sy n="123" d="100"/>
        </p:scale>
        <p:origin x="984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78B563-0538-4F90-811C-47D1D3C24ECF}" type="datetimeFigureOut">
              <a:rPr lang="en-US" smtClean="0"/>
              <a:t>8/27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781458-47FD-4486-9F05-7327C73883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46540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ad thru and ensure to make things sound like </a:t>
            </a:r>
            <a:r>
              <a:rPr lang="en-US" dirty="0" err="1"/>
              <a:t>continuing..not</a:t>
            </a:r>
            <a:r>
              <a:rPr lang="en-US" dirty="0"/>
              <a:t> n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781458-47FD-4486-9F05-7327C73883F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5228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9EA2A2"/>
                </a:solidFill>
                <a:latin typeface="Arial"/>
              </a:rPr>
              <a:t>© 2018 NetApp, Inc. All rights reserved.  --- NETAPP CONFIDENTIAL ---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6AA2537-0790-4789-A16C-397C663A3332}" type="slidenum">
              <a:rPr lang="en-US" smtClean="0">
                <a:solidFill>
                  <a:srgbClr val="9EA2A2"/>
                </a:solidFill>
                <a:latin typeface="Arial"/>
              </a:rPr>
              <a:pPr/>
              <a:t>6</a:t>
            </a:fld>
            <a:endParaRPr lang="en-US" dirty="0">
              <a:solidFill>
                <a:srgbClr val="9EA2A2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396306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altLang="en-US"/>
              <a:t>© 2015 NetApp, Inc. All rights reserved. NetApp Proprietary – Limited Use Onl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7CCD99D-2653-40E8-BB13-8971A0AC4CF8}" type="slidenum">
              <a:rPr lang="en-US" altLang="en-US" smtClean="0"/>
              <a:pPr/>
              <a:t>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170341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43144" y="2586361"/>
            <a:ext cx="7466206" cy="1470025"/>
          </a:xfrm>
        </p:spPr>
        <p:txBody>
          <a:bodyPr wrap="square" lIns="91521" tIns="45761" rIns="91440" bIns="45761">
            <a:noAutofit/>
          </a:bodyPr>
          <a:lstStyle>
            <a:lvl1pPr algn="l">
              <a:lnSpc>
                <a:spcPct val="95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43144" y="4028010"/>
            <a:ext cx="8463162" cy="1120351"/>
          </a:xfrm>
        </p:spPr>
        <p:txBody>
          <a:bodyPr wrap="square" lIns="91521" tIns="45761" rIns="91440" bIns="4576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00" b="0">
                <a:solidFill>
                  <a:schemeClr val="accent1"/>
                </a:solidFill>
              </a:defRPr>
            </a:lvl1pPr>
            <a:lvl2pPr marL="0" indent="0">
              <a:lnSpc>
                <a:spcPct val="85000"/>
              </a:lnSpc>
              <a:spcBef>
                <a:spcPts val="4400"/>
              </a:spcBef>
              <a:buFont typeface="Arial" panose="020B0604020202020204" pitchFamily="34" charset="0"/>
              <a:buChar char="​"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85000"/>
              </a:lnSpc>
              <a:buFont typeface="Arial" panose="020B0604020202020204" pitchFamily="34" charset="0"/>
              <a:buChar char="​"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85000"/>
              </a:lnSpc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4pPr>
            <a:lvl5pPr marL="0" indent="0">
              <a:lnSpc>
                <a:spcPct val="85000"/>
              </a:lnSpc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dirty="0">
                <a:solidFill>
                  <a:srgbClr val="A2A5A2">
                    <a:lumMod val="50000"/>
                  </a:srgbClr>
                </a:solidFill>
              </a:rPr>
              <a:t>© 2018 NetApp, Inc. All rights reserved. 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 dirty="0"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A8C32CF-CE42-4CC7-A1AD-548B295F266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6831" y="990600"/>
            <a:ext cx="1829276" cy="33528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43144" y="5148360"/>
            <a:ext cx="8463162" cy="378972"/>
          </a:xfrm>
        </p:spPr>
        <p:txBody>
          <a:bodyPr anchor="ctr"/>
          <a:lstStyle>
            <a:lvl1pPr marL="0" indent="0">
              <a:buFontTx/>
              <a:buNone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Presenter’s Nam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43144" y="5445777"/>
            <a:ext cx="8463162" cy="378972"/>
          </a:xfrm>
        </p:spPr>
        <p:txBody>
          <a:bodyPr anchor="ctr"/>
          <a:lstStyle>
            <a:lvl1pPr marL="0" indent="0">
              <a:buFontTx/>
              <a:buNone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Presenter’s Titl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43144" y="5769492"/>
            <a:ext cx="8463162" cy="378972"/>
          </a:xfrm>
        </p:spPr>
        <p:txBody>
          <a:bodyPr anchor="ctr"/>
          <a:lstStyle>
            <a:lvl1pPr marL="0" indent="0">
              <a:buFontTx/>
              <a:buNone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2B401C0-FAD9-4B0E-B809-84C34B2AF07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411554" y="2"/>
            <a:ext cx="3783518" cy="5521629"/>
            <a:chOff x="8207212" y="0"/>
            <a:chExt cx="3981613" cy="5812241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76BE7FCD-5FE5-4C5E-9560-AD1D7BB3F87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04445" y="1655064"/>
              <a:ext cx="1325880" cy="1105145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58BB352-F1D8-4E7A-9C0C-57F3B548677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530325" y="0"/>
              <a:ext cx="1658500" cy="1655064"/>
            </a:xfrm>
            <a:prstGeom prst="rect">
              <a:avLst/>
            </a:prstGeom>
            <a:solidFill>
              <a:srgbClr val="02773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5216">
                <a:lnSpc>
                  <a:spcPct val="95000"/>
                </a:lnSpc>
              </a:pPr>
              <a:endParaRPr lang="en-US" sz="1900" dirty="0" err="1">
                <a:solidFill>
                  <a:srgbClr val="5A5A5A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BE8051A-EBEA-4D4B-864C-587B681D762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54100" y="906808"/>
              <a:ext cx="749808" cy="748256"/>
            </a:xfrm>
            <a:prstGeom prst="rect">
              <a:avLst/>
            </a:prstGeom>
            <a:solidFill>
              <a:srgbClr val="00322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5216">
                <a:lnSpc>
                  <a:spcPct val="95000"/>
                </a:lnSpc>
              </a:pPr>
              <a:endParaRPr lang="en-US" sz="1900" dirty="0" err="1">
                <a:solidFill>
                  <a:srgbClr val="5A5A5A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94F1F5E-3095-4757-A98B-A7926C9CD2F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07212" y="2760209"/>
              <a:ext cx="996696" cy="994632"/>
            </a:xfrm>
            <a:prstGeom prst="rect">
              <a:avLst/>
            </a:prstGeom>
            <a:solidFill>
              <a:srgbClr val="BCDD79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5216">
                <a:lnSpc>
                  <a:spcPct val="95000"/>
                </a:lnSpc>
              </a:pPr>
              <a:endParaRPr lang="en-US" sz="1900" dirty="0" err="1">
                <a:solidFill>
                  <a:srgbClr val="5A5A5A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62EAF146-DE9D-40E3-A5A8-A8D6061B809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03908" y="3754841"/>
              <a:ext cx="2057400" cy="2057400"/>
            </a:xfrm>
            <a:prstGeom prst="rect">
              <a:avLst/>
            </a:prstGeom>
            <a:solidFill>
              <a:srgbClr val="4ABBAB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5216">
                <a:lnSpc>
                  <a:spcPct val="95000"/>
                </a:lnSpc>
              </a:pPr>
              <a:endParaRPr lang="en-US" sz="1900" dirty="0" err="1">
                <a:solidFill>
                  <a:srgbClr val="5A5A5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8612056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Content Placeholder 39"/>
          <p:cNvSpPr>
            <a:spLocks noGrp="1"/>
          </p:cNvSpPr>
          <p:nvPr>
            <p:ph sz="quarter" idx="15" hasCustomPrompt="1"/>
          </p:nvPr>
        </p:nvSpPr>
        <p:spPr bwMode="gray">
          <a:xfrm>
            <a:off x="263031" y="1733423"/>
            <a:ext cx="5716489" cy="4480055"/>
          </a:xfrm>
        </p:spPr>
        <p:txBody>
          <a:bodyPr wrap="square" lIns="91521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63031" y="240330"/>
            <a:ext cx="11661637" cy="904795"/>
          </a:xfrm>
        </p:spPr>
        <p:txBody>
          <a:bodyPr wrap="square" lIns="91521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3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6208180" y="1733423"/>
            <a:ext cx="5716489" cy="4479925"/>
          </a:xfrm>
        </p:spPr>
        <p:txBody>
          <a:bodyPr wrap="square" lIns="91521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1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263031" y="1106419"/>
            <a:ext cx="11661637" cy="400109"/>
          </a:xfrm>
        </p:spPr>
        <p:txBody>
          <a:bodyPr lIns="91521" tIns="45761" rIns="91521" bIns="45761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1pPr>
            <a:lvl2pPr marL="457608" indent="0">
              <a:buNone/>
              <a:defRPr sz="2000" b="1"/>
            </a:lvl2pPr>
            <a:lvl3pPr marL="915216" indent="0">
              <a:buNone/>
              <a:defRPr sz="1900" b="1"/>
            </a:lvl3pPr>
            <a:lvl4pPr marL="1372822" indent="0">
              <a:buNone/>
              <a:defRPr sz="1600" b="1"/>
            </a:lvl4pPr>
            <a:lvl5pPr marL="1830430" indent="0">
              <a:buNone/>
              <a:defRPr sz="1600" b="1"/>
            </a:lvl5pPr>
            <a:lvl6pPr marL="2288038" indent="0">
              <a:buNone/>
              <a:defRPr sz="1600" b="1"/>
            </a:lvl6pPr>
            <a:lvl7pPr marL="2745646" indent="0">
              <a:buNone/>
              <a:defRPr sz="1600" b="1"/>
            </a:lvl7pPr>
            <a:lvl8pPr marL="3203253" indent="0">
              <a:buNone/>
              <a:defRPr sz="1600" b="1"/>
            </a:lvl8pPr>
            <a:lvl9pPr marL="3660861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dirty="0">
                <a:solidFill>
                  <a:srgbClr val="A2A5A2">
                    <a:lumMod val="50000"/>
                  </a:srgbClr>
                </a:solidFill>
              </a:rPr>
              <a:t>© 2018 NetApp, Inc. All rights reserved. 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 dirty="0"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674468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Content Placeholder 39"/>
          <p:cNvSpPr>
            <a:spLocks noGrp="1"/>
          </p:cNvSpPr>
          <p:nvPr>
            <p:ph sz="quarter" idx="15" hasCustomPrompt="1"/>
          </p:nvPr>
        </p:nvSpPr>
        <p:spPr bwMode="gray">
          <a:xfrm>
            <a:off x="263031" y="1733423"/>
            <a:ext cx="3750017" cy="4480055"/>
          </a:xfrm>
        </p:spPr>
        <p:txBody>
          <a:bodyPr wrap="square" lIns="91521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Content Placeholder 39"/>
          <p:cNvSpPr>
            <a:spLocks noGrp="1"/>
          </p:cNvSpPr>
          <p:nvPr>
            <p:ph sz="quarter" idx="17" hasCustomPrompt="1"/>
          </p:nvPr>
        </p:nvSpPr>
        <p:spPr bwMode="gray">
          <a:xfrm>
            <a:off x="4218841" y="1733423"/>
            <a:ext cx="3750017" cy="4480055"/>
          </a:xfrm>
        </p:spPr>
        <p:txBody>
          <a:bodyPr wrap="square" lIns="91521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9" name="Content Placeholder 39"/>
          <p:cNvSpPr>
            <a:spLocks noGrp="1"/>
          </p:cNvSpPr>
          <p:nvPr>
            <p:ph sz="quarter" idx="18" hasCustomPrompt="1"/>
          </p:nvPr>
        </p:nvSpPr>
        <p:spPr bwMode="gray">
          <a:xfrm>
            <a:off x="8174652" y="1733423"/>
            <a:ext cx="3750017" cy="4480055"/>
          </a:xfrm>
        </p:spPr>
        <p:txBody>
          <a:bodyPr wrap="square" lIns="91521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63031" y="240330"/>
            <a:ext cx="11661637" cy="904795"/>
          </a:xfrm>
        </p:spPr>
        <p:txBody>
          <a:bodyPr wrap="square" lIns="91521">
            <a:noAutofit/>
          </a:bodyPr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1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263031" y="1106419"/>
            <a:ext cx="11661637" cy="400109"/>
          </a:xfrm>
        </p:spPr>
        <p:txBody>
          <a:bodyPr lIns="91521" tIns="45761" rIns="91521" bIns="45761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1pPr>
            <a:lvl2pPr marL="457608" indent="0">
              <a:buNone/>
              <a:defRPr sz="2000" b="1"/>
            </a:lvl2pPr>
            <a:lvl3pPr marL="915216" indent="0">
              <a:buNone/>
              <a:defRPr sz="1900" b="1"/>
            </a:lvl3pPr>
            <a:lvl4pPr marL="1372822" indent="0">
              <a:buNone/>
              <a:defRPr sz="1600" b="1"/>
            </a:lvl4pPr>
            <a:lvl5pPr marL="1830430" indent="0">
              <a:buNone/>
              <a:defRPr sz="1600" b="1"/>
            </a:lvl5pPr>
            <a:lvl6pPr marL="2288038" indent="0">
              <a:buNone/>
              <a:defRPr sz="1600" b="1"/>
            </a:lvl6pPr>
            <a:lvl7pPr marL="2745646" indent="0">
              <a:buNone/>
              <a:defRPr sz="1600" b="1"/>
            </a:lvl7pPr>
            <a:lvl8pPr marL="3203253" indent="0">
              <a:buNone/>
              <a:defRPr sz="1600" b="1"/>
            </a:lvl8pPr>
            <a:lvl9pPr marL="3660861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dirty="0">
                <a:solidFill>
                  <a:srgbClr val="A2A5A2">
                    <a:lumMod val="50000"/>
                  </a:srgbClr>
                </a:solidFill>
              </a:rPr>
              <a:t>© 2018 NetApp, Inc. All rights reserved. 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 dirty="0"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867870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Qu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63031" y="240330"/>
            <a:ext cx="11661637" cy="904795"/>
          </a:xfrm>
        </p:spPr>
        <p:txBody>
          <a:bodyPr lIns="91521">
            <a:noAutofit/>
          </a:bodyPr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9" name="Content Placeholder 39"/>
          <p:cNvSpPr>
            <a:spLocks noGrp="1"/>
          </p:cNvSpPr>
          <p:nvPr>
            <p:ph sz="quarter" idx="15" hasCustomPrompt="1"/>
          </p:nvPr>
        </p:nvSpPr>
        <p:spPr bwMode="gray">
          <a:xfrm>
            <a:off x="263030" y="1733425"/>
            <a:ext cx="5716489" cy="2091765"/>
          </a:xfrm>
        </p:spPr>
        <p:txBody>
          <a:bodyPr lIns="91521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0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6208180" y="1733552"/>
            <a:ext cx="5716489" cy="2091704"/>
          </a:xfrm>
        </p:spPr>
        <p:txBody>
          <a:bodyPr lIns="91521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1" name="Content Placeholder 39"/>
          <p:cNvSpPr>
            <a:spLocks noGrp="1"/>
          </p:cNvSpPr>
          <p:nvPr>
            <p:ph sz="quarter" idx="20" hasCustomPrompt="1"/>
          </p:nvPr>
        </p:nvSpPr>
        <p:spPr bwMode="gray">
          <a:xfrm>
            <a:off x="263030" y="4062939"/>
            <a:ext cx="5716489" cy="2091765"/>
          </a:xfrm>
        </p:spPr>
        <p:txBody>
          <a:bodyPr lIns="91521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2" name="Content Placeholder 3"/>
          <p:cNvSpPr>
            <a:spLocks noGrp="1"/>
          </p:cNvSpPr>
          <p:nvPr>
            <p:ph sz="quarter" idx="21" hasCustomPrompt="1"/>
          </p:nvPr>
        </p:nvSpPr>
        <p:spPr>
          <a:xfrm>
            <a:off x="6208180" y="4063067"/>
            <a:ext cx="5716489" cy="2091704"/>
          </a:xfrm>
        </p:spPr>
        <p:txBody>
          <a:bodyPr lIns="91521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9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263031" y="1106419"/>
            <a:ext cx="11661637" cy="400109"/>
          </a:xfrm>
        </p:spPr>
        <p:txBody>
          <a:bodyPr lIns="91521" tIns="45761" rIns="91521" bIns="45761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1pPr>
            <a:lvl2pPr marL="457608" indent="0">
              <a:buNone/>
              <a:defRPr sz="2000" b="1"/>
            </a:lvl2pPr>
            <a:lvl3pPr marL="915216" indent="0">
              <a:buNone/>
              <a:defRPr sz="1900" b="1"/>
            </a:lvl3pPr>
            <a:lvl4pPr marL="1372822" indent="0">
              <a:buNone/>
              <a:defRPr sz="1600" b="1"/>
            </a:lvl4pPr>
            <a:lvl5pPr marL="1830430" indent="0">
              <a:buNone/>
              <a:defRPr sz="1600" b="1"/>
            </a:lvl5pPr>
            <a:lvl6pPr marL="2288038" indent="0">
              <a:buNone/>
              <a:defRPr sz="1600" b="1"/>
            </a:lvl6pPr>
            <a:lvl7pPr marL="2745646" indent="0">
              <a:buNone/>
              <a:defRPr sz="1600" b="1"/>
            </a:lvl7pPr>
            <a:lvl8pPr marL="3203253" indent="0">
              <a:buNone/>
              <a:defRPr sz="1600" b="1"/>
            </a:lvl8pPr>
            <a:lvl9pPr marL="3660861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dirty="0">
                <a:solidFill>
                  <a:srgbClr val="A2A5A2">
                    <a:lumMod val="50000"/>
                  </a:srgbClr>
                </a:solidFill>
              </a:rPr>
              <a:t>© 2018 NetApp, Inc. All rights reserved. 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 dirty="0"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2327924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63031" y="240330"/>
            <a:ext cx="11661637" cy="904795"/>
          </a:xfrm>
        </p:spPr>
        <p:txBody>
          <a:bodyPr lIns="91521" tIns="45761" rIns="91521" bIns="45761">
            <a:noAutofit/>
          </a:bodyPr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263031" y="1106419"/>
            <a:ext cx="11661637" cy="400109"/>
          </a:xfrm>
        </p:spPr>
        <p:txBody>
          <a:bodyPr lIns="91521" tIns="45761" rIns="91521" bIns="45761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1pPr>
            <a:lvl2pPr marL="457608" indent="0">
              <a:buNone/>
              <a:defRPr sz="2000" b="1"/>
            </a:lvl2pPr>
            <a:lvl3pPr marL="915216" indent="0">
              <a:buNone/>
              <a:defRPr sz="1900" b="1"/>
            </a:lvl3pPr>
            <a:lvl4pPr marL="1372822" indent="0">
              <a:buNone/>
              <a:defRPr sz="1600" b="1"/>
            </a:lvl4pPr>
            <a:lvl5pPr marL="1830430" indent="0">
              <a:buNone/>
              <a:defRPr sz="1600" b="1"/>
            </a:lvl5pPr>
            <a:lvl6pPr marL="2288038" indent="0">
              <a:buNone/>
              <a:defRPr sz="1600" b="1"/>
            </a:lvl6pPr>
            <a:lvl7pPr marL="2745646" indent="0">
              <a:buNone/>
              <a:defRPr sz="1600" b="1"/>
            </a:lvl7pPr>
            <a:lvl8pPr marL="3203253" indent="0">
              <a:buNone/>
              <a:defRPr sz="1600" b="1"/>
            </a:lvl8pPr>
            <a:lvl9pPr marL="3660861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dirty="0">
                <a:solidFill>
                  <a:srgbClr val="A2A5A2">
                    <a:lumMod val="50000"/>
                  </a:srgbClr>
                </a:solidFill>
              </a:rPr>
              <a:t>© 2018 NetApp, Inc. All rights reserved. 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 dirty="0"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4159721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1381688" y="1371600"/>
            <a:ext cx="4113517" cy="4112446"/>
          </a:xfrm>
          <a:prstGeom prst="rect">
            <a:avLst/>
          </a:prstGeom>
          <a:solidFill>
            <a:srgbClr val="0067C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5216">
              <a:lnSpc>
                <a:spcPct val="95000"/>
              </a:lnSpc>
            </a:pPr>
            <a:endParaRPr lang="en-US" sz="2000" dirty="0" err="1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1"/>
          </p:nvPr>
        </p:nvSpPr>
        <p:spPr>
          <a:xfrm>
            <a:off x="1381686" y="4073240"/>
            <a:ext cx="4113519" cy="545143"/>
          </a:xfrm>
        </p:spPr>
        <p:txBody>
          <a:bodyPr anchor="t" anchorCtr="0"/>
          <a:lstStyle>
            <a:lvl1pPr marL="0" indent="0" algn="ctr">
              <a:buNone/>
              <a:defRPr kumimoji="0" lang="en-US" sz="2200" b="0" i="0" u="none" strike="noStrike" kern="1200" cap="none" spc="0" normalizeH="0" baseline="0" dirty="0" smtClean="0">
                <a:ln>
                  <a:noFill/>
                </a:ln>
                <a:solidFill>
                  <a:srgbClr val="5AC0ED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381686" y="1466850"/>
            <a:ext cx="4113519" cy="2724150"/>
          </a:xfrm>
        </p:spPr>
        <p:txBody>
          <a:bodyPr anchor="b"/>
          <a:lstStyle>
            <a:lvl1pPr marL="0" marR="0" indent="0" algn="ctr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chemeClr val="accent1"/>
              </a:buClr>
              <a:buSzTx/>
              <a:buFontTx/>
              <a:buNone/>
              <a:tabLst/>
              <a:defRPr kumimoji="0" lang="en-US" sz="12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%</a:t>
            </a:r>
          </a:p>
        </p:txBody>
      </p:sp>
      <p:sp>
        <p:nvSpPr>
          <p:cNvPr id="37" name="Title 1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6211773" y="2495945"/>
            <a:ext cx="5682407" cy="881890"/>
          </a:xfrm>
        </p:spPr>
        <p:txBody>
          <a:bodyPr lIns="91521" tIns="45761" rIns="91521" bIns="45761" anchor="b">
            <a:noAutofit/>
          </a:bodyPr>
          <a:lstStyle>
            <a:lvl1pPr marL="0" marR="0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chemeClr val="accent1"/>
              </a:buClr>
              <a:buSzTx/>
              <a:tabLst/>
              <a:defRPr kumimoji="0" lang="en-US" sz="4800" b="0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38" name="Text Placeholder 2"/>
          <p:cNvSpPr>
            <a:spLocks noGrp="1"/>
          </p:cNvSpPr>
          <p:nvPr userDrawn="1">
            <p:ph type="body" idx="1" hasCustomPrompt="1"/>
          </p:nvPr>
        </p:nvSpPr>
        <p:spPr bwMode="gray">
          <a:xfrm>
            <a:off x="6211773" y="3500747"/>
            <a:ext cx="5682408" cy="492443"/>
          </a:xfrm>
        </p:spPr>
        <p:txBody>
          <a:bodyPr lIns="91521" tIns="45761" rIns="91521" bIns="45761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chemeClr val="accent1"/>
              </a:buClr>
              <a:buSzTx/>
              <a:buNone/>
              <a:tabLst/>
              <a:defRPr kumimoji="0" lang="en-US" sz="2400" b="0" i="0" u="none" strike="noStrike" kern="1200" cap="none" spc="0" normalizeH="0" baseline="0" dirty="0">
                <a:ln>
                  <a:noFill/>
                </a:ln>
                <a:solidFill>
                  <a:srgbClr val="0067C5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60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9152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282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83043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28803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74564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20325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66086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9" name="Footer Placeholder 4"/>
          <p:cNvSpPr>
            <a:spLocks noGrp="1"/>
          </p:cNvSpPr>
          <p:nvPr userDrawn="1"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dirty="0">
                <a:solidFill>
                  <a:srgbClr val="A2A5A2">
                    <a:lumMod val="50000"/>
                  </a:srgbClr>
                </a:solidFill>
              </a:rPr>
              <a:t>© 2018 NetApp, Inc. All rights reserved. 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 dirty="0"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774014-DE33-433F-BEA1-FAC71ABE8C7A}"/>
              </a:ext>
            </a:extLst>
          </p:cNvPr>
          <p:cNvSpPr/>
          <p:nvPr userDrawn="1"/>
        </p:nvSpPr>
        <p:spPr>
          <a:xfrm>
            <a:off x="359" y="0"/>
            <a:ext cx="1381328" cy="1381328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52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608" algn="l" defTabSz="9152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5216" algn="l" defTabSz="9152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2822" algn="l" defTabSz="9152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30430" algn="l" defTabSz="9152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8038" algn="l" defTabSz="9152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5646" algn="l" defTabSz="9152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3253" algn="l" defTabSz="9152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60861" algn="l" defTabSz="9152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5000"/>
              </a:lnSpc>
            </a:pPr>
            <a:endParaRPr lang="en-US" sz="2000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714808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63032" y="240330"/>
            <a:ext cx="10179088" cy="904795"/>
          </a:xfrm>
        </p:spPr>
        <p:txBody>
          <a:bodyPr wrap="square" lIns="91521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1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263032" y="1106419"/>
            <a:ext cx="10179088" cy="400109"/>
          </a:xfrm>
        </p:spPr>
        <p:txBody>
          <a:bodyPr lIns="91521" tIns="45761" rIns="91521" bIns="45761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1pPr>
            <a:lvl2pPr marL="457608" indent="0">
              <a:buNone/>
              <a:defRPr sz="2000" b="1"/>
            </a:lvl2pPr>
            <a:lvl3pPr marL="915216" indent="0">
              <a:buNone/>
              <a:defRPr sz="1900" b="1"/>
            </a:lvl3pPr>
            <a:lvl4pPr marL="1372822" indent="0">
              <a:buNone/>
              <a:defRPr sz="1600" b="1"/>
            </a:lvl4pPr>
            <a:lvl5pPr marL="1830430" indent="0">
              <a:buNone/>
              <a:defRPr sz="1600" b="1"/>
            </a:lvl5pPr>
            <a:lvl6pPr marL="2288038" indent="0">
              <a:buNone/>
              <a:defRPr sz="1600" b="1"/>
            </a:lvl6pPr>
            <a:lvl7pPr marL="2745646" indent="0">
              <a:buNone/>
              <a:defRPr sz="1600" b="1"/>
            </a:lvl7pPr>
            <a:lvl8pPr marL="3203253" indent="0">
              <a:buNone/>
              <a:defRPr sz="1600" b="1"/>
            </a:lvl8pPr>
            <a:lvl9pPr marL="3660861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dirty="0">
                <a:solidFill>
                  <a:srgbClr val="A2A5A2">
                    <a:lumMod val="50000"/>
                  </a:srgbClr>
                </a:solidFill>
              </a:rPr>
              <a:t>© 2018 NetApp, Inc. All rights reserved. 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 dirty="0"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22" hasCustomPrompt="1"/>
          </p:nvPr>
        </p:nvSpPr>
        <p:spPr>
          <a:xfrm>
            <a:off x="10594000" y="240331"/>
            <a:ext cx="1330669" cy="1266197"/>
          </a:xfrm>
        </p:spPr>
        <p:txBody>
          <a:bodyPr wrap="square" lIns="91521" tIns="45761" rIns="91521" bIns="45761">
            <a:noAutofit/>
          </a:bodyPr>
          <a:lstStyle>
            <a:lvl1pPr marL="0" indent="0" algn="ctr">
              <a:lnSpc>
                <a:spcPct val="85000"/>
              </a:lnSpc>
              <a:buFontTx/>
              <a:buNone/>
              <a:defRPr sz="110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INSERT LOGO, OR USE PLACEHOLDER TO ALIGN LOGO.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263031" y="1733552"/>
            <a:ext cx="5720108" cy="4479925"/>
          </a:xfrm>
        </p:spPr>
        <p:txBody>
          <a:bodyPr wrap="square" lIns="91521" tIns="45761" rIns="91521" bIns="45761">
            <a:noAutofit/>
          </a:bodyPr>
          <a:lstStyle>
            <a:lvl1pPr marL="0" indent="0">
              <a:buFont typeface="Arial" panose="020B0604020202020204" pitchFamily="34" charset="0"/>
              <a:buChar char="​"/>
              <a:defRPr>
                <a:solidFill>
                  <a:schemeClr val="accent1"/>
                </a:solidFill>
              </a:defRPr>
            </a:lvl1pPr>
            <a:lvl2pPr marL="170014" indent="-170014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2pPr>
            <a:lvl3pPr marL="346383" indent="-176370">
              <a:buFont typeface="Wingdings" panose="05000000000000000000" pitchFamily="2" charset="2"/>
              <a:buChar char="§"/>
              <a:defRPr/>
            </a:lvl3pPr>
            <a:lvl4pPr marL="575187" indent="-228804">
              <a:buFont typeface="Wingdings" panose="05000000000000000000" pitchFamily="2" charset="2"/>
              <a:buChar char="§"/>
              <a:defRPr/>
            </a:lvl4pPr>
            <a:lvl5pPr marL="803991" indent="-228804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4" hasCustomPrompt="1"/>
          </p:nvPr>
        </p:nvSpPr>
        <p:spPr>
          <a:xfrm>
            <a:off x="6208181" y="1733551"/>
            <a:ext cx="5771367" cy="448056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to add photo</a:t>
            </a:r>
          </a:p>
        </p:txBody>
      </p:sp>
    </p:spTree>
    <p:extLst>
      <p:ext uri="{BB962C8B-B14F-4D97-AF65-F5344CB8AC3E}">
        <p14:creationId xmlns:p14="http://schemas.microsoft.com/office/powerpoint/2010/main" val="1168225447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289697" y="193676"/>
            <a:ext cx="9612608" cy="4701053"/>
          </a:xfrm>
        </p:spPr>
        <p:txBody>
          <a:bodyPr wrap="square" lIns="91521" tIns="45761" rIns="91521" bIns="45761">
            <a:noAutofit/>
          </a:bodyPr>
          <a:lstStyle>
            <a:lvl1pPr marL="117579" indent="-117579">
              <a:lnSpc>
                <a:spcPct val="120000"/>
              </a:lnSpc>
              <a:defRPr sz="3600" b="0"/>
            </a:lvl1pPr>
          </a:lstStyle>
          <a:p>
            <a:r>
              <a:rPr lang="en-US" dirty="0"/>
              <a:t>Click to edit quote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289697" y="5174130"/>
            <a:ext cx="9612608" cy="321628"/>
          </a:xfrm>
        </p:spPr>
        <p:txBody>
          <a:bodyPr wrap="square" lIns="91521" tIns="45761" rIns="91521" bIns="45761" anchor="t">
            <a:noAutofit/>
          </a:bodyPr>
          <a:lstStyle>
            <a:lvl1pPr marL="0" indent="0" algn="l">
              <a:buNone/>
              <a:defRPr sz="2000" b="1" cap="none" baseline="0">
                <a:solidFill>
                  <a:schemeClr val="accent1"/>
                </a:solidFill>
              </a:defRPr>
            </a:lvl1pPr>
            <a:lvl2pPr marL="45760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9152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282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83043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28803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74564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20325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66086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dirty="0">
                <a:solidFill>
                  <a:srgbClr val="A2A5A2">
                    <a:lumMod val="50000"/>
                  </a:srgbClr>
                </a:solidFill>
              </a:rPr>
              <a:t>© 2018 NetApp, Inc. All rights reserved. 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 dirty="0"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3677140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289697" y="379697"/>
            <a:ext cx="9612608" cy="5407955"/>
          </a:xfrm>
        </p:spPr>
        <p:txBody>
          <a:bodyPr wrap="square" lIns="91521" tIns="45761" rIns="91521" bIns="45761" anchor="ctr">
            <a:noAutofit/>
          </a:bodyPr>
          <a:lstStyle>
            <a:lvl1pPr marL="0" indent="0" algn="ctr">
              <a:lnSpc>
                <a:spcPct val="80000"/>
              </a:lnSpc>
              <a:defRPr sz="100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STATEMENT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dirty="0">
                <a:solidFill>
                  <a:srgbClr val="A2A5A2">
                    <a:lumMod val="50000"/>
                  </a:srgbClr>
                </a:solidFill>
              </a:rPr>
              <a:t>© 2018 NetApp, Inc. All rights reserved. 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 dirty="0"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8228793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dirty="0">
                <a:solidFill>
                  <a:srgbClr val="A2A5A2">
                    <a:lumMod val="50000"/>
                  </a:srgbClr>
                </a:solidFill>
              </a:rPr>
              <a:t>© 2018 NetApp, Inc. All rights reserved. 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 dirty="0"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773714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Media Placeholder 2"/>
          <p:cNvSpPr>
            <a:spLocks noGrp="1"/>
          </p:cNvSpPr>
          <p:nvPr>
            <p:ph type="media" sz="quarter" idx="19" hasCustomPrompt="1"/>
          </p:nvPr>
        </p:nvSpPr>
        <p:spPr>
          <a:xfrm>
            <a:off x="1622849" y="566740"/>
            <a:ext cx="8946306" cy="5030787"/>
          </a:xfrm>
        </p:spPr>
        <p:txBody>
          <a:bodyPr lIns="91521" tIns="45761" rIns="91521" bIns="45761" anchor="ctr">
            <a:noAutofit/>
          </a:bodyPr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Insert video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dirty="0">
                <a:solidFill>
                  <a:srgbClr val="A2A5A2">
                    <a:lumMod val="50000"/>
                  </a:srgbClr>
                </a:solidFill>
              </a:rPr>
              <a:t>© 2018 NetApp, Inc. All rights reserved. 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 dirty="0"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724479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471F689-3696-41C6-A1AF-AB2AFA9B506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4905" y="1"/>
            <a:ext cx="5067095" cy="374745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43144" y="2586361"/>
            <a:ext cx="9054918" cy="1470025"/>
          </a:xfrm>
        </p:spPr>
        <p:txBody>
          <a:bodyPr wrap="square" lIns="91521" tIns="45761" rIns="91440" bIns="45761">
            <a:noAutofit/>
          </a:bodyPr>
          <a:lstStyle>
            <a:lvl1pPr algn="l">
              <a:lnSpc>
                <a:spcPct val="95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43144" y="4028010"/>
            <a:ext cx="9054918" cy="1120351"/>
          </a:xfrm>
        </p:spPr>
        <p:txBody>
          <a:bodyPr wrap="square" lIns="91521" tIns="45761" rIns="91440" bIns="4576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00" b="0">
                <a:solidFill>
                  <a:schemeClr val="accent1"/>
                </a:solidFill>
              </a:defRPr>
            </a:lvl1pPr>
            <a:lvl2pPr marL="0" indent="0">
              <a:lnSpc>
                <a:spcPct val="85000"/>
              </a:lnSpc>
              <a:spcBef>
                <a:spcPts val="4400"/>
              </a:spcBef>
              <a:buFont typeface="Arial" panose="020B0604020202020204" pitchFamily="34" charset="0"/>
              <a:buChar char="​"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85000"/>
              </a:lnSpc>
              <a:buFont typeface="Arial" panose="020B0604020202020204" pitchFamily="34" charset="0"/>
              <a:buChar char="​"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85000"/>
              </a:lnSpc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4pPr>
            <a:lvl5pPr marL="0" indent="0">
              <a:lnSpc>
                <a:spcPct val="85000"/>
              </a:lnSpc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dirty="0">
                <a:solidFill>
                  <a:srgbClr val="A2A5A2">
                    <a:lumMod val="50000"/>
                  </a:srgbClr>
                </a:solidFill>
              </a:rPr>
              <a:t>© 2018 NetApp, Inc. All rights reserved. 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 dirty="0"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A8C32CF-CE42-4CC7-A1AD-548B295F266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6831" y="990600"/>
            <a:ext cx="1829276" cy="33528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43144" y="5148360"/>
            <a:ext cx="9054918" cy="378972"/>
          </a:xfrm>
        </p:spPr>
        <p:txBody>
          <a:bodyPr anchor="ctr"/>
          <a:lstStyle>
            <a:lvl1pPr marL="0" indent="0">
              <a:buFontTx/>
              <a:buNone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Presenter’s Nam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43144" y="5445777"/>
            <a:ext cx="9054918" cy="378972"/>
          </a:xfrm>
        </p:spPr>
        <p:txBody>
          <a:bodyPr anchor="ctr"/>
          <a:lstStyle>
            <a:lvl1pPr marL="0" indent="0">
              <a:buFontTx/>
              <a:buNone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Presenter’s Titl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43144" y="5769492"/>
            <a:ext cx="9054918" cy="378972"/>
          </a:xfrm>
        </p:spPr>
        <p:txBody>
          <a:bodyPr anchor="ctr"/>
          <a:lstStyle>
            <a:lvl1pPr marL="0" indent="0">
              <a:buFontTx/>
              <a:buNone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82681898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EACEC5A4-00B3-461F-8FBD-AE0DBCB7E3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-1" y="0"/>
            <a:ext cx="12192000" cy="2289054"/>
          </a:xfrm>
          <a:prstGeom prst="rect">
            <a:avLst/>
          </a:prstGeom>
        </p:spPr>
      </p:pic>
      <p:sp>
        <p:nvSpPr>
          <p:cNvPr id="9" name="Content Placeholder 4"/>
          <p:cNvSpPr>
            <a:spLocks noGrp="1"/>
          </p:cNvSpPr>
          <p:nvPr>
            <p:ph sz="quarter" idx="10"/>
          </p:nvPr>
        </p:nvSpPr>
        <p:spPr>
          <a:xfrm>
            <a:off x="882562" y="2846231"/>
            <a:ext cx="10426875" cy="3429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2901280" y="1618365"/>
            <a:ext cx="184779" cy="769441"/>
          </a:xfrm>
          <a:prstGeom prst="rect">
            <a:avLst/>
          </a:prstGeom>
          <a:noFill/>
          <a:ln>
            <a:noFill/>
          </a:ln>
        </p:spPr>
        <p:txBody>
          <a:bodyPr wrap="none" rtlCol="0" anchor="ctr">
            <a:spAutoFit/>
          </a:bodyPr>
          <a:lstStyle/>
          <a:p>
            <a:pPr defTabSz="915216"/>
            <a:endParaRPr lang="en-US" sz="4400" dirty="0">
              <a:solidFill>
                <a:sysClr val="windowText" lastClr="000000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dirty="0">
                <a:solidFill>
                  <a:srgbClr val="A2A5A2">
                    <a:lumMod val="50000"/>
                  </a:srgbClr>
                </a:solidFill>
              </a:rPr>
              <a:t>© 2018 NetApp, Inc. All rights reserved. 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 dirty="0"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8C6FBA6-3F8B-4E5E-8904-016DBEA899C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34" y="1"/>
            <a:ext cx="2746361" cy="2289053"/>
          </a:xfrm>
          <a:prstGeom prst="rect">
            <a:avLst/>
          </a:prstGeom>
        </p:spPr>
      </p:pic>
      <p:sp>
        <p:nvSpPr>
          <p:cNvPr id="14" name="Title 2"/>
          <p:cNvSpPr>
            <a:spLocks noGrp="1"/>
          </p:cNvSpPr>
          <p:nvPr>
            <p:ph type="title" hasCustomPrompt="1"/>
          </p:nvPr>
        </p:nvSpPr>
        <p:spPr>
          <a:xfrm>
            <a:off x="3233876" y="622915"/>
            <a:ext cx="8069004" cy="904795"/>
          </a:xfrm>
        </p:spPr>
        <p:txBody>
          <a:bodyPr wrap="square" lIns="91521">
            <a:noAutofit/>
          </a:bodyPr>
          <a:lstStyle>
            <a:lvl1pPr>
              <a:defRPr lang="en-US" sz="4400" kern="1200" dirty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192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080">
          <p15:clr>
            <a:srgbClr val="FBAE40"/>
          </p15:clr>
        </p15:guide>
        <p15:guide id="3" pos="67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D5DBCE4F-F334-4A2E-A274-278A0D95AC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81" t="1526" r="-1" b="3826"/>
          <a:stretch/>
        </p:blipFill>
        <p:spPr>
          <a:xfrm>
            <a:off x="-1" y="0"/>
            <a:ext cx="12201273" cy="6858000"/>
          </a:xfrm>
          <a:prstGeom prst="rect">
            <a:avLst/>
          </a:prstGeom>
        </p:spPr>
      </p:pic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tx1"/>
                </a:solidFill>
              </a:defRPr>
            </a:lvl1pPr>
          </a:lstStyle>
          <a:p>
            <a:fld id="{B071A5F3-A4FF-4CEE-8215-C08835B585C1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43144" y="2568465"/>
            <a:ext cx="9054918" cy="1470025"/>
          </a:xfrm>
        </p:spPr>
        <p:txBody>
          <a:bodyPr anchor="b"/>
          <a:lstStyle>
            <a:lvl1pPr marL="0" indent="0">
              <a:buNone/>
              <a:defRPr sz="4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tx1"/>
                </a:solidFill>
              </a:defRPr>
            </a:lvl1pPr>
          </a:lstStyle>
          <a:p>
            <a:r>
              <a:rPr dirty="0">
                <a:solidFill>
                  <a:prstClr val="black"/>
                </a:solidFill>
              </a:rPr>
              <a:t>© 2018 NetApp, Inc. All rights reserved.  </a:t>
            </a:r>
            <a:r>
              <a:rPr dirty="0">
                <a:solidFill>
                  <a:prstClr val="black"/>
                </a:solidFill>
                <a:cs typeface="Arial" panose="020B0604020202020204" pitchFamily="34" charset="0"/>
              </a:rPr>
              <a:t>— </a:t>
            </a:r>
            <a:r>
              <a:rPr dirty="0">
                <a:solidFill>
                  <a:prstClr val="black"/>
                </a:solidFill>
              </a:rPr>
              <a:t>NETAPP CONFIDENTIAL </a:t>
            </a:r>
            <a:r>
              <a:rPr dirty="0">
                <a:solidFill>
                  <a:prstClr val="black"/>
                </a:solidFill>
                <a:cs typeface="Arial" panose="020B0604020202020204" pitchFamily="34" charset="0"/>
              </a:rPr>
              <a:t>— </a:t>
            </a:r>
            <a:endParaRPr dirty="0">
              <a:solidFill>
                <a:prstClr val="black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B755897-8EA7-4D96-87E3-B6377EF6F2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6831" y="990600"/>
            <a:ext cx="1829276" cy="335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4101121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9836977-DC42-4F77-B8B3-E5225DA7BB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 err="1">
              <a:solidFill>
                <a:schemeClr val="bg1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375001" y="261620"/>
            <a:ext cx="11432251" cy="307777"/>
          </a:xfrm>
          <a:noFill/>
        </p:spPr>
        <p:txBody>
          <a:bodyPr>
            <a:spAutoFit/>
          </a:bodyPr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443197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297838" y="1106416"/>
            <a:ext cx="11397445" cy="400110"/>
          </a:xfrm>
        </p:spPr>
        <p:txBody>
          <a:bodyPr lIns="91440" tIns="45720" rIns="91440" bIns="4572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13014" y="6238646"/>
            <a:ext cx="11432977" cy="215444"/>
          </a:xfrm>
        </p:spPr>
        <p:txBody>
          <a:bodyPr lIns="91440" tIns="45720" rIns="91440" bIns="4572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" baseline="0">
                <a:solidFill>
                  <a:schemeClr val="bg2"/>
                </a:solidFill>
              </a:defRPr>
            </a:lvl1pPr>
            <a:lvl2pPr marL="228600" indent="0">
              <a:buFontTx/>
              <a:buNone/>
              <a:defRPr sz="800">
                <a:solidFill>
                  <a:schemeClr val="bg2"/>
                </a:solidFill>
              </a:defRPr>
            </a:lvl2pPr>
            <a:lvl3pPr marL="457200" indent="0">
              <a:buFontTx/>
              <a:buNone/>
              <a:defRPr sz="800">
                <a:solidFill>
                  <a:schemeClr val="bg2"/>
                </a:solidFill>
              </a:defRPr>
            </a:lvl3pPr>
            <a:lvl4pPr marL="685800" indent="0">
              <a:buFontTx/>
              <a:buNone/>
              <a:defRPr sz="800">
                <a:solidFill>
                  <a:schemeClr val="bg2"/>
                </a:solidFill>
              </a:defRPr>
            </a:lvl4pPr>
            <a:lvl5pPr>
              <a:buFontTx/>
              <a:buNone/>
              <a:defRPr sz="8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insert source information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7102" y="6481171"/>
            <a:ext cx="6540465" cy="240489"/>
          </a:xfrm>
          <a:prstGeom prst="rect">
            <a:avLst/>
          </a:prstGeom>
        </p:spPr>
        <p:txBody>
          <a:bodyPr vert="horz" wrap="square" lIns="91440" tIns="45720" rIns="91440" bIns="45720" rtlCol="0" anchor="b">
            <a:noAutofit/>
          </a:bodyPr>
          <a:lstStyle>
            <a:lvl1pPr>
              <a:defRPr lang="en-US" sz="700" smtClean="0">
                <a:solidFill>
                  <a:schemeClr val="bg2"/>
                </a:solidFill>
              </a:defRPr>
            </a:lvl1pPr>
          </a:lstStyle>
          <a:p>
            <a:r>
              <a:rPr dirty="0">
                <a:solidFill>
                  <a:srgbClr val="9EA2A2"/>
                </a:solidFill>
              </a:rPr>
              <a:t>© 2015 </a:t>
            </a:r>
            <a:r>
              <a:rPr dirty="0" err="1">
                <a:solidFill>
                  <a:srgbClr val="9EA2A2"/>
                </a:solidFill>
              </a:rPr>
              <a:t>NetApp</a:t>
            </a:r>
            <a:r>
              <a:rPr dirty="0">
                <a:solidFill>
                  <a:srgbClr val="9EA2A2"/>
                </a:solidFill>
              </a:rPr>
              <a:t>, Inc. All rights reserved. </a:t>
            </a:r>
            <a:r>
              <a:rPr dirty="0" err="1">
                <a:solidFill>
                  <a:srgbClr val="9EA2A2"/>
                </a:solidFill>
              </a:rPr>
              <a:t>NetApp</a:t>
            </a:r>
            <a:r>
              <a:rPr dirty="0">
                <a:solidFill>
                  <a:srgbClr val="9EA2A2"/>
                </a:solidFill>
              </a:rPr>
              <a:t> Confidential – Limited Use 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25098" y="6460851"/>
            <a:ext cx="630177" cy="260809"/>
          </a:xfrm>
          <a:prstGeom prst="rect">
            <a:avLst/>
          </a:prstGeom>
        </p:spPr>
        <p:txBody>
          <a:bodyPr vert="horz" wrap="square" lIns="91440" tIns="45720" rIns="91440" bIns="45720" rtlCol="0" anchor="b">
            <a:noAutofit/>
          </a:bodyPr>
          <a:lstStyle>
            <a:lvl1pPr>
              <a:defRPr lang="en-US" sz="100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9EA2A2">
                    <a:lumMod val="50000"/>
                  </a:srgbClr>
                </a:solidFill>
              </a:rPr>
              <a:pPr/>
              <a:t>‹#›</a:t>
            </a:fld>
            <a:endParaRPr dirty="0">
              <a:solidFill>
                <a:srgbClr val="9EA2A2">
                  <a:lumMod val="50000"/>
                </a:srgbClr>
              </a:solidFill>
            </a:endParaRPr>
          </a:p>
        </p:txBody>
      </p:sp>
      <p:pic>
        <p:nvPicPr>
          <p:cNvPr id="11" name="Picture 10" descr="netapp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1645" y="6373763"/>
            <a:ext cx="1316736" cy="401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6539842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647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59985" y="1281112"/>
            <a:ext cx="10137987" cy="5043488"/>
          </a:xfrm>
        </p:spPr>
        <p:txBody>
          <a:bodyPr>
            <a:noAutofit/>
          </a:bodyPr>
          <a:lstStyle>
            <a:lvl1pPr>
              <a:defRPr sz="2382">
                <a:solidFill>
                  <a:schemeClr val="tx1"/>
                </a:solidFill>
              </a:defRPr>
            </a:lvl1pPr>
            <a:lvl2pPr>
              <a:defRPr sz="1941">
                <a:solidFill>
                  <a:schemeClr val="tx1"/>
                </a:solidFill>
              </a:defRPr>
            </a:lvl2pPr>
            <a:lvl3pPr>
              <a:defRPr sz="1765">
                <a:solidFill>
                  <a:schemeClr val="tx1"/>
                </a:solidFill>
              </a:defRPr>
            </a:lvl3pPr>
            <a:lvl4pPr>
              <a:defRPr sz="1588">
                <a:solidFill>
                  <a:schemeClr val="tx1"/>
                </a:solidFill>
              </a:defRPr>
            </a:lvl4pPr>
            <a:lvl5pPr marL="1479622" indent="-262211">
              <a:buFont typeface="Courier New" panose="02070309020205020404" pitchFamily="49" charset="0"/>
              <a:buChar char="o"/>
              <a:defRPr sz="1412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7938D5-676B-4424-8B52-343AF2A1253B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71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grpSp>
        <p:nvGrpSpPr>
          <p:cNvPr id="9" name="Group 8"/>
          <p:cNvGrpSpPr/>
          <p:nvPr/>
        </p:nvGrpSpPr>
        <p:grpSpPr bwMode="gray">
          <a:xfrm>
            <a:off x="463549" y="6445715"/>
            <a:ext cx="11265408" cy="107486"/>
            <a:chOff x="347662" y="6160730"/>
            <a:chExt cx="8449056" cy="107486"/>
          </a:xfrm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347662" y="6160730"/>
              <a:ext cx="8449056" cy="107486"/>
            </a:xfrm>
            <a:custGeom>
              <a:avLst/>
              <a:gdLst>
                <a:gd name="T0" fmla="*/ 116 w 3930"/>
                <a:gd name="T1" fmla="*/ 4 h 50"/>
                <a:gd name="T2" fmla="*/ 258 w 3930"/>
                <a:gd name="T3" fmla="*/ 2 h 50"/>
                <a:gd name="T4" fmla="*/ 376 w 3930"/>
                <a:gd name="T5" fmla="*/ 2 h 50"/>
                <a:gd name="T6" fmla="*/ 494 w 3930"/>
                <a:gd name="T7" fmla="*/ 6 h 50"/>
                <a:gd name="T8" fmla="*/ 628 w 3930"/>
                <a:gd name="T9" fmla="*/ 8 h 50"/>
                <a:gd name="T10" fmla="*/ 774 w 3930"/>
                <a:gd name="T11" fmla="*/ 6 h 50"/>
                <a:gd name="T12" fmla="*/ 894 w 3930"/>
                <a:gd name="T13" fmla="*/ 4 h 50"/>
                <a:gd name="T14" fmla="*/ 1038 w 3930"/>
                <a:gd name="T15" fmla="*/ 4 h 50"/>
                <a:gd name="T16" fmla="*/ 1196 w 3930"/>
                <a:gd name="T17" fmla="*/ 2 h 50"/>
                <a:gd name="T18" fmla="*/ 1326 w 3930"/>
                <a:gd name="T19" fmla="*/ 4 h 50"/>
                <a:gd name="T20" fmla="*/ 1428 w 3930"/>
                <a:gd name="T21" fmla="*/ 4 h 50"/>
                <a:gd name="T22" fmla="*/ 1568 w 3930"/>
                <a:gd name="T23" fmla="*/ 6 h 50"/>
                <a:gd name="T24" fmla="*/ 1710 w 3930"/>
                <a:gd name="T25" fmla="*/ 6 h 50"/>
                <a:gd name="T26" fmla="*/ 1826 w 3930"/>
                <a:gd name="T27" fmla="*/ 8 h 50"/>
                <a:gd name="T28" fmla="*/ 1950 w 3930"/>
                <a:gd name="T29" fmla="*/ 4 h 50"/>
                <a:gd name="T30" fmla="*/ 2106 w 3930"/>
                <a:gd name="T31" fmla="*/ 4 h 50"/>
                <a:gd name="T32" fmla="*/ 2234 w 3930"/>
                <a:gd name="T33" fmla="*/ 2 h 50"/>
                <a:gd name="T34" fmla="*/ 2354 w 3930"/>
                <a:gd name="T35" fmla="*/ 2 h 50"/>
                <a:gd name="T36" fmla="*/ 2498 w 3930"/>
                <a:gd name="T37" fmla="*/ 6 h 50"/>
                <a:gd name="T38" fmla="*/ 2580 w 3930"/>
                <a:gd name="T39" fmla="*/ 4 h 50"/>
                <a:gd name="T40" fmla="*/ 2684 w 3930"/>
                <a:gd name="T41" fmla="*/ 4 h 50"/>
                <a:gd name="T42" fmla="*/ 2830 w 3930"/>
                <a:gd name="T43" fmla="*/ 4 h 50"/>
                <a:gd name="T44" fmla="*/ 2932 w 3930"/>
                <a:gd name="T45" fmla="*/ 6 h 50"/>
                <a:gd name="T46" fmla="*/ 3058 w 3930"/>
                <a:gd name="T47" fmla="*/ 6 h 50"/>
                <a:gd name="T48" fmla="*/ 3176 w 3930"/>
                <a:gd name="T49" fmla="*/ 10 h 50"/>
                <a:gd name="T50" fmla="*/ 3262 w 3930"/>
                <a:gd name="T51" fmla="*/ 14 h 50"/>
                <a:gd name="T52" fmla="*/ 3340 w 3930"/>
                <a:gd name="T53" fmla="*/ 12 h 50"/>
                <a:gd name="T54" fmla="*/ 3456 w 3930"/>
                <a:gd name="T55" fmla="*/ 18 h 50"/>
                <a:gd name="T56" fmla="*/ 3592 w 3930"/>
                <a:gd name="T57" fmla="*/ 16 h 50"/>
                <a:gd name="T58" fmla="*/ 3648 w 3930"/>
                <a:gd name="T59" fmla="*/ 16 h 50"/>
                <a:gd name="T60" fmla="*/ 3784 w 3930"/>
                <a:gd name="T61" fmla="*/ 20 h 50"/>
                <a:gd name="T62" fmla="*/ 3846 w 3930"/>
                <a:gd name="T63" fmla="*/ 24 h 50"/>
                <a:gd name="T64" fmla="*/ 3874 w 3930"/>
                <a:gd name="T65" fmla="*/ 36 h 50"/>
                <a:gd name="T66" fmla="*/ 3782 w 3930"/>
                <a:gd name="T67" fmla="*/ 42 h 50"/>
                <a:gd name="T68" fmla="*/ 3676 w 3930"/>
                <a:gd name="T69" fmla="*/ 46 h 50"/>
                <a:gd name="T70" fmla="*/ 3570 w 3930"/>
                <a:gd name="T71" fmla="*/ 48 h 50"/>
                <a:gd name="T72" fmla="*/ 3518 w 3930"/>
                <a:gd name="T73" fmla="*/ 48 h 50"/>
                <a:gd name="T74" fmla="*/ 3396 w 3930"/>
                <a:gd name="T75" fmla="*/ 48 h 50"/>
                <a:gd name="T76" fmla="*/ 3304 w 3930"/>
                <a:gd name="T77" fmla="*/ 48 h 50"/>
                <a:gd name="T78" fmla="*/ 3152 w 3930"/>
                <a:gd name="T79" fmla="*/ 40 h 50"/>
                <a:gd name="T80" fmla="*/ 3042 w 3930"/>
                <a:gd name="T81" fmla="*/ 42 h 50"/>
                <a:gd name="T82" fmla="*/ 2898 w 3930"/>
                <a:gd name="T83" fmla="*/ 36 h 50"/>
                <a:gd name="T84" fmla="*/ 2814 w 3930"/>
                <a:gd name="T85" fmla="*/ 38 h 50"/>
                <a:gd name="T86" fmla="*/ 2692 w 3930"/>
                <a:gd name="T87" fmla="*/ 36 h 50"/>
                <a:gd name="T88" fmla="*/ 2588 w 3930"/>
                <a:gd name="T89" fmla="*/ 34 h 50"/>
                <a:gd name="T90" fmla="*/ 2466 w 3930"/>
                <a:gd name="T91" fmla="*/ 38 h 50"/>
                <a:gd name="T92" fmla="*/ 2356 w 3930"/>
                <a:gd name="T93" fmla="*/ 36 h 50"/>
                <a:gd name="T94" fmla="*/ 2212 w 3930"/>
                <a:gd name="T95" fmla="*/ 40 h 50"/>
                <a:gd name="T96" fmla="*/ 2040 w 3930"/>
                <a:gd name="T97" fmla="*/ 40 h 50"/>
                <a:gd name="T98" fmla="*/ 1922 w 3930"/>
                <a:gd name="T99" fmla="*/ 40 h 50"/>
                <a:gd name="T100" fmla="*/ 1804 w 3930"/>
                <a:gd name="T101" fmla="*/ 42 h 50"/>
                <a:gd name="T102" fmla="*/ 1642 w 3930"/>
                <a:gd name="T103" fmla="*/ 44 h 50"/>
                <a:gd name="T104" fmla="*/ 1492 w 3930"/>
                <a:gd name="T105" fmla="*/ 46 h 50"/>
                <a:gd name="T106" fmla="*/ 1354 w 3930"/>
                <a:gd name="T107" fmla="*/ 44 h 50"/>
                <a:gd name="T108" fmla="*/ 1180 w 3930"/>
                <a:gd name="T109" fmla="*/ 44 h 50"/>
                <a:gd name="T110" fmla="*/ 1052 w 3930"/>
                <a:gd name="T111" fmla="*/ 46 h 50"/>
                <a:gd name="T112" fmla="*/ 936 w 3930"/>
                <a:gd name="T113" fmla="*/ 44 h 50"/>
                <a:gd name="T114" fmla="*/ 790 w 3930"/>
                <a:gd name="T115" fmla="*/ 40 h 50"/>
                <a:gd name="T116" fmla="*/ 636 w 3930"/>
                <a:gd name="T117" fmla="*/ 42 h 50"/>
                <a:gd name="T118" fmla="*/ 494 w 3930"/>
                <a:gd name="T119" fmla="*/ 46 h 50"/>
                <a:gd name="T120" fmla="*/ 362 w 3930"/>
                <a:gd name="T121" fmla="*/ 42 h 50"/>
                <a:gd name="T122" fmla="*/ 222 w 3930"/>
                <a:gd name="T123" fmla="*/ 40 h 50"/>
                <a:gd name="T124" fmla="*/ 70 w 3930"/>
                <a:gd name="T125" fmla="*/ 3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30" h="50">
                  <a:moveTo>
                    <a:pt x="2" y="14"/>
                  </a:moveTo>
                  <a:lnTo>
                    <a:pt x="2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8"/>
                  </a:lnTo>
                  <a:lnTo>
                    <a:pt x="2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6"/>
                  </a:lnTo>
                  <a:lnTo>
                    <a:pt x="4" y="6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2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2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8" y="2"/>
                  </a:lnTo>
                  <a:lnTo>
                    <a:pt x="98" y="2"/>
                  </a:lnTo>
                  <a:lnTo>
                    <a:pt x="102" y="4"/>
                  </a:lnTo>
                  <a:lnTo>
                    <a:pt x="106" y="4"/>
                  </a:lnTo>
                  <a:lnTo>
                    <a:pt x="106" y="4"/>
                  </a:lnTo>
                  <a:lnTo>
                    <a:pt x="108" y="4"/>
                  </a:lnTo>
                  <a:lnTo>
                    <a:pt x="108" y="4"/>
                  </a:lnTo>
                  <a:lnTo>
                    <a:pt x="110" y="4"/>
                  </a:lnTo>
                  <a:lnTo>
                    <a:pt x="112" y="6"/>
                  </a:lnTo>
                  <a:lnTo>
                    <a:pt x="112" y="6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4" y="4"/>
                  </a:lnTo>
                  <a:lnTo>
                    <a:pt x="124" y="4"/>
                  </a:lnTo>
                  <a:lnTo>
                    <a:pt x="128" y="4"/>
                  </a:lnTo>
                  <a:lnTo>
                    <a:pt x="134" y="4"/>
                  </a:lnTo>
                  <a:lnTo>
                    <a:pt x="134" y="4"/>
                  </a:lnTo>
                  <a:lnTo>
                    <a:pt x="136" y="4"/>
                  </a:lnTo>
                  <a:lnTo>
                    <a:pt x="136" y="4"/>
                  </a:lnTo>
                  <a:lnTo>
                    <a:pt x="138" y="2"/>
                  </a:lnTo>
                  <a:lnTo>
                    <a:pt x="138" y="2"/>
                  </a:lnTo>
                  <a:lnTo>
                    <a:pt x="142" y="4"/>
                  </a:lnTo>
                  <a:lnTo>
                    <a:pt x="142" y="4"/>
                  </a:lnTo>
                  <a:lnTo>
                    <a:pt x="146" y="2"/>
                  </a:lnTo>
                  <a:lnTo>
                    <a:pt x="146" y="2"/>
                  </a:lnTo>
                  <a:lnTo>
                    <a:pt x="148" y="2"/>
                  </a:lnTo>
                  <a:lnTo>
                    <a:pt x="148" y="2"/>
                  </a:lnTo>
                  <a:lnTo>
                    <a:pt x="150" y="2"/>
                  </a:lnTo>
                  <a:lnTo>
                    <a:pt x="150" y="2"/>
                  </a:lnTo>
                  <a:lnTo>
                    <a:pt x="156" y="4"/>
                  </a:lnTo>
                  <a:lnTo>
                    <a:pt x="156" y="4"/>
                  </a:lnTo>
                  <a:lnTo>
                    <a:pt x="158" y="2"/>
                  </a:lnTo>
                  <a:lnTo>
                    <a:pt x="158" y="2"/>
                  </a:lnTo>
                  <a:lnTo>
                    <a:pt x="164" y="2"/>
                  </a:lnTo>
                  <a:lnTo>
                    <a:pt x="164" y="2"/>
                  </a:lnTo>
                  <a:lnTo>
                    <a:pt x="168" y="2"/>
                  </a:lnTo>
                  <a:lnTo>
                    <a:pt x="174" y="4"/>
                  </a:lnTo>
                  <a:lnTo>
                    <a:pt x="174" y="4"/>
                  </a:lnTo>
                  <a:lnTo>
                    <a:pt x="178" y="2"/>
                  </a:lnTo>
                  <a:lnTo>
                    <a:pt x="178" y="2"/>
                  </a:lnTo>
                  <a:lnTo>
                    <a:pt x="180" y="4"/>
                  </a:lnTo>
                  <a:lnTo>
                    <a:pt x="180" y="4"/>
                  </a:lnTo>
                  <a:lnTo>
                    <a:pt x="182" y="2"/>
                  </a:lnTo>
                  <a:lnTo>
                    <a:pt x="182" y="2"/>
                  </a:lnTo>
                  <a:lnTo>
                    <a:pt x="186" y="2"/>
                  </a:lnTo>
                  <a:lnTo>
                    <a:pt x="186" y="2"/>
                  </a:lnTo>
                  <a:lnTo>
                    <a:pt x="188" y="4"/>
                  </a:lnTo>
                  <a:lnTo>
                    <a:pt x="188" y="4"/>
                  </a:lnTo>
                  <a:lnTo>
                    <a:pt x="190" y="2"/>
                  </a:lnTo>
                  <a:lnTo>
                    <a:pt x="190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4" y="2"/>
                  </a:lnTo>
                  <a:lnTo>
                    <a:pt x="194" y="2"/>
                  </a:lnTo>
                  <a:lnTo>
                    <a:pt x="196" y="2"/>
                  </a:lnTo>
                  <a:lnTo>
                    <a:pt x="196" y="2"/>
                  </a:lnTo>
                  <a:lnTo>
                    <a:pt x="200" y="2"/>
                  </a:lnTo>
                  <a:lnTo>
                    <a:pt x="200" y="2"/>
                  </a:lnTo>
                  <a:lnTo>
                    <a:pt x="204" y="4"/>
                  </a:lnTo>
                  <a:lnTo>
                    <a:pt x="204" y="4"/>
                  </a:lnTo>
                  <a:lnTo>
                    <a:pt x="210" y="2"/>
                  </a:lnTo>
                  <a:lnTo>
                    <a:pt x="210" y="2"/>
                  </a:lnTo>
                  <a:lnTo>
                    <a:pt x="212" y="2"/>
                  </a:lnTo>
                  <a:lnTo>
                    <a:pt x="212" y="2"/>
                  </a:lnTo>
                  <a:lnTo>
                    <a:pt x="214" y="2"/>
                  </a:lnTo>
                  <a:lnTo>
                    <a:pt x="214" y="2"/>
                  </a:lnTo>
                  <a:lnTo>
                    <a:pt x="214" y="2"/>
                  </a:lnTo>
                  <a:lnTo>
                    <a:pt x="214" y="2"/>
                  </a:lnTo>
                  <a:lnTo>
                    <a:pt x="214" y="4"/>
                  </a:lnTo>
                  <a:lnTo>
                    <a:pt x="214" y="4"/>
                  </a:lnTo>
                  <a:lnTo>
                    <a:pt x="216" y="4"/>
                  </a:lnTo>
                  <a:lnTo>
                    <a:pt x="216" y="4"/>
                  </a:lnTo>
                  <a:lnTo>
                    <a:pt x="218" y="4"/>
                  </a:lnTo>
                  <a:lnTo>
                    <a:pt x="218" y="4"/>
                  </a:lnTo>
                  <a:lnTo>
                    <a:pt x="224" y="4"/>
                  </a:lnTo>
                  <a:lnTo>
                    <a:pt x="224" y="4"/>
                  </a:lnTo>
                  <a:lnTo>
                    <a:pt x="226" y="0"/>
                  </a:lnTo>
                  <a:lnTo>
                    <a:pt x="226" y="0"/>
                  </a:lnTo>
                  <a:lnTo>
                    <a:pt x="232" y="0"/>
                  </a:lnTo>
                  <a:lnTo>
                    <a:pt x="232" y="0"/>
                  </a:lnTo>
                  <a:lnTo>
                    <a:pt x="234" y="0"/>
                  </a:lnTo>
                  <a:lnTo>
                    <a:pt x="234" y="0"/>
                  </a:lnTo>
                  <a:lnTo>
                    <a:pt x="238" y="2"/>
                  </a:lnTo>
                  <a:lnTo>
                    <a:pt x="238" y="2"/>
                  </a:lnTo>
                  <a:lnTo>
                    <a:pt x="244" y="2"/>
                  </a:lnTo>
                  <a:lnTo>
                    <a:pt x="244" y="2"/>
                  </a:lnTo>
                  <a:lnTo>
                    <a:pt x="248" y="2"/>
                  </a:lnTo>
                  <a:lnTo>
                    <a:pt x="248" y="2"/>
                  </a:lnTo>
                  <a:lnTo>
                    <a:pt x="252" y="2"/>
                  </a:lnTo>
                  <a:lnTo>
                    <a:pt x="252" y="2"/>
                  </a:lnTo>
                  <a:lnTo>
                    <a:pt x="256" y="2"/>
                  </a:lnTo>
                  <a:lnTo>
                    <a:pt x="256" y="2"/>
                  </a:lnTo>
                  <a:lnTo>
                    <a:pt x="258" y="2"/>
                  </a:lnTo>
                  <a:lnTo>
                    <a:pt x="258" y="2"/>
                  </a:lnTo>
                  <a:lnTo>
                    <a:pt x="258" y="2"/>
                  </a:lnTo>
                  <a:lnTo>
                    <a:pt x="258" y="2"/>
                  </a:lnTo>
                  <a:lnTo>
                    <a:pt x="258" y="2"/>
                  </a:lnTo>
                  <a:lnTo>
                    <a:pt x="258" y="2"/>
                  </a:lnTo>
                  <a:lnTo>
                    <a:pt x="260" y="2"/>
                  </a:lnTo>
                  <a:lnTo>
                    <a:pt x="260" y="2"/>
                  </a:lnTo>
                  <a:lnTo>
                    <a:pt x="262" y="2"/>
                  </a:lnTo>
                  <a:lnTo>
                    <a:pt x="262" y="2"/>
                  </a:lnTo>
                  <a:lnTo>
                    <a:pt x="268" y="2"/>
                  </a:lnTo>
                  <a:lnTo>
                    <a:pt x="268" y="2"/>
                  </a:lnTo>
                  <a:lnTo>
                    <a:pt x="268" y="2"/>
                  </a:lnTo>
                  <a:lnTo>
                    <a:pt x="268" y="2"/>
                  </a:lnTo>
                  <a:lnTo>
                    <a:pt x="270" y="2"/>
                  </a:lnTo>
                  <a:lnTo>
                    <a:pt x="270" y="2"/>
                  </a:lnTo>
                  <a:lnTo>
                    <a:pt x="276" y="2"/>
                  </a:lnTo>
                  <a:lnTo>
                    <a:pt x="276" y="2"/>
                  </a:lnTo>
                  <a:lnTo>
                    <a:pt x="276" y="2"/>
                  </a:lnTo>
                  <a:lnTo>
                    <a:pt x="276" y="2"/>
                  </a:lnTo>
                  <a:lnTo>
                    <a:pt x="278" y="2"/>
                  </a:lnTo>
                  <a:lnTo>
                    <a:pt x="278" y="2"/>
                  </a:lnTo>
                  <a:lnTo>
                    <a:pt x="280" y="2"/>
                  </a:lnTo>
                  <a:lnTo>
                    <a:pt x="280" y="2"/>
                  </a:lnTo>
                  <a:lnTo>
                    <a:pt x="280" y="4"/>
                  </a:lnTo>
                  <a:lnTo>
                    <a:pt x="280" y="4"/>
                  </a:lnTo>
                  <a:lnTo>
                    <a:pt x="282" y="2"/>
                  </a:lnTo>
                  <a:lnTo>
                    <a:pt x="282" y="2"/>
                  </a:lnTo>
                  <a:lnTo>
                    <a:pt x="288" y="2"/>
                  </a:lnTo>
                  <a:lnTo>
                    <a:pt x="288" y="2"/>
                  </a:lnTo>
                  <a:lnTo>
                    <a:pt x="290" y="2"/>
                  </a:lnTo>
                  <a:lnTo>
                    <a:pt x="290" y="2"/>
                  </a:lnTo>
                  <a:lnTo>
                    <a:pt x="296" y="2"/>
                  </a:lnTo>
                  <a:lnTo>
                    <a:pt x="296" y="2"/>
                  </a:lnTo>
                  <a:lnTo>
                    <a:pt x="298" y="2"/>
                  </a:lnTo>
                  <a:lnTo>
                    <a:pt x="298" y="2"/>
                  </a:lnTo>
                  <a:lnTo>
                    <a:pt x="298" y="2"/>
                  </a:lnTo>
                  <a:lnTo>
                    <a:pt x="298" y="2"/>
                  </a:lnTo>
                  <a:lnTo>
                    <a:pt x="302" y="2"/>
                  </a:lnTo>
                  <a:lnTo>
                    <a:pt x="302" y="2"/>
                  </a:lnTo>
                  <a:lnTo>
                    <a:pt x="306" y="2"/>
                  </a:lnTo>
                  <a:lnTo>
                    <a:pt x="306" y="2"/>
                  </a:lnTo>
                  <a:lnTo>
                    <a:pt x="310" y="2"/>
                  </a:lnTo>
                  <a:lnTo>
                    <a:pt x="312" y="2"/>
                  </a:lnTo>
                  <a:lnTo>
                    <a:pt x="312" y="2"/>
                  </a:lnTo>
                  <a:lnTo>
                    <a:pt x="318" y="2"/>
                  </a:lnTo>
                  <a:lnTo>
                    <a:pt x="322" y="2"/>
                  </a:lnTo>
                  <a:lnTo>
                    <a:pt x="322" y="2"/>
                  </a:lnTo>
                  <a:lnTo>
                    <a:pt x="324" y="4"/>
                  </a:lnTo>
                  <a:lnTo>
                    <a:pt x="324" y="4"/>
                  </a:lnTo>
                  <a:lnTo>
                    <a:pt x="324" y="2"/>
                  </a:lnTo>
                  <a:lnTo>
                    <a:pt x="326" y="2"/>
                  </a:lnTo>
                  <a:lnTo>
                    <a:pt x="326" y="2"/>
                  </a:lnTo>
                  <a:lnTo>
                    <a:pt x="332" y="2"/>
                  </a:lnTo>
                  <a:lnTo>
                    <a:pt x="332" y="2"/>
                  </a:lnTo>
                  <a:lnTo>
                    <a:pt x="336" y="2"/>
                  </a:lnTo>
                  <a:lnTo>
                    <a:pt x="342" y="2"/>
                  </a:lnTo>
                  <a:lnTo>
                    <a:pt x="342" y="2"/>
                  </a:lnTo>
                  <a:lnTo>
                    <a:pt x="344" y="2"/>
                  </a:lnTo>
                  <a:lnTo>
                    <a:pt x="348" y="2"/>
                  </a:lnTo>
                  <a:lnTo>
                    <a:pt x="348" y="2"/>
                  </a:lnTo>
                  <a:lnTo>
                    <a:pt x="352" y="2"/>
                  </a:lnTo>
                  <a:lnTo>
                    <a:pt x="352" y="2"/>
                  </a:lnTo>
                  <a:lnTo>
                    <a:pt x="354" y="2"/>
                  </a:lnTo>
                  <a:lnTo>
                    <a:pt x="354" y="2"/>
                  </a:lnTo>
                  <a:lnTo>
                    <a:pt x="358" y="2"/>
                  </a:lnTo>
                  <a:lnTo>
                    <a:pt x="360" y="2"/>
                  </a:lnTo>
                  <a:lnTo>
                    <a:pt x="360" y="2"/>
                  </a:lnTo>
                  <a:lnTo>
                    <a:pt x="360" y="4"/>
                  </a:lnTo>
                  <a:lnTo>
                    <a:pt x="360" y="6"/>
                  </a:lnTo>
                  <a:lnTo>
                    <a:pt x="360" y="6"/>
                  </a:lnTo>
                  <a:lnTo>
                    <a:pt x="362" y="4"/>
                  </a:lnTo>
                  <a:lnTo>
                    <a:pt x="364" y="2"/>
                  </a:lnTo>
                  <a:lnTo>
                    <a:pt x="364" y="2"/>
                  </a:lnTo>
                  <a:lnTo>
                    <a:pt x="370" y="2"/>
                  </a:lnTo>
                  <a:lnTo>
                    <a:pt x="370" y="2"/>
                  </a:lnTo>
                  <a:lnTo>
                    <a:pt x="370" y="2"/>
                  </a:lnTo>
                  <a:lnTo>
                    <a:pt x="370" y="2"/>
                  </a:lnTo>
                  <a:lnTo>
                    <a:pt x="370" y="2"/>
                  </a:lnTo>
                  <a:lnTo>
                    <a:pt x="370" y="2"/>
                  </a:lnTo>
                  <a:lnTo>
                    <a:pt x="370" y="2"/>
                  </a:lnTo>
                  <a:lnTo>
                    <a:pt x="370" y="2"/>
                  </a:lnTo>
                  <a:lnTo>
                    <a:pt x="374" y="4"/>
                  </a:lnTo>
                  <a:lnTo>
                    <a:pt x="374" y="4"/>
                  </a:lnTo>
                  <a:lnTo>
                    <a:pt x="376" y="2"/>
                  </a:lnTo>
                  <a:lnTo>
                    <a:pt x="376" y="2"/>
                  </a:lnTo>
                  <a:lnTo>
                    <a:pt x="378" y="4"/>
                  </a:lnTo>
                  <a:lnTo>
                    <a:pt x="378" y="4"/>
                  </a:lnTo>
                  <a:lnTo>
                    <a:pt x="384" y="4"/>
                  </a:lnTo>
                  <a:lnTo>
                    <a:pt x="384" y="4"/>
                  </a:lnTo>
                  <a:lnTo>
                    <a:pt x="386" y="4"/>
                  </a:lnTo>
                  <a:lnTo>
                    <a:pt x="386" y="4"/>
                  </a:lnTo>
                  <a:lnTo>
                    <a:pt x="390" y="4"/>
                  </a:lnTo>
                  <a:lnTo>
                    <a:pt x="390" y="4"/>
                  </a:lnTo>
                  <a:lnTo>
                    <a:pt x="392" y="4"/>
                  </a:lnTo>
                  <a:lnTo>
                    <a:pt x="392" y="4"/>
                  </a:lnTo>
                  <a:lnTo>
                    <a:pt x="392" y="4"/>
                  </a:lnTo>
                  <a:lnTo>
                    <a:pt x="392" y="4"/>
                  </a:lnTo>
                  <a:lnTo>
                    <a:pt x="394" y="4"/>
                  </a:lnTo>
                  <a:lnTo>
                    <a:pt x="394" y="4"/>
                  </a:lnTo>
                  <a:lnTo>
                    <a:pt x="394" y="4"/>
                  </a:lnTo>
                  <a:lnTo>
                    <a:pt x="394" y="4"/>
                  </a:lnTo>
                  <a:lnTo>
                    <a:pt x="396" y="6"/>
                  </a:lnTo>
                  <a:lnTo>
                    <a:pt x="396" y="6"/>
                  </a:lnTo>
                  <a:lnTo>
                    <a:pt x="398" y="6"/>
                  </a:lnTo>
                  <a:lnTo>
                    <a:pt x="398" y="6"/>
                  </a:lnTo>
                  <a:lnTo>
                    <a:pt x="398" y="6"/>
                  </a:lnTo>
                  <a:lnTo>
                    <a:pt x="398" y="6"/>
                  </a:lnTo>
                  <a:lnTo>
                    <a:pt x="402" y="4"/>
                  </a:lnTo>
                  <a:lnTo>
                    <a:pt x="402" y="4"/>
                  </a:lnTo>
                  <a:lnTo>
                    <a:pt x="406" y="6"/>
                  </a:lnTo>
                  <a:lnTo>
                    <a:pt x="406" y="6"/>
                  </a:lnTo>
                  <a:lnTo>
                    <a:pt x="408" y="4"/>
                  </a:lnTo>
                  <a:lnTo>
                    <a:pt x="408" y="4"/>
                  </a:lnTo>
                  <a:lnTo>
                    <a:pt x="410" y="6"/>
                  </a:lnTo>
                  <a:lnTo>
                    <a:pt x="410" y="6"/>
                  </a:lnTo>
                  <a:lnTo>
                    <a:pt x="410" y="6"/>
                  </a:lnTo>
                  <a:lnTo>
                    <a:pt x="412" y="6"/>
                  </a:lnTo>
                  <a:lnTo>
                    <a:pt x="412" y="4"/>
                  </a:lnTo>
                  <a:lnTo>
                    <a:pt x="412" y="4"/>
                  </a:lnTo>
                  <a:lnTo>
                    <a:pt x="420" y="4"/>
                  </a:lnTo>
                  <a:lnTo>
                    <a:pt x="420" y="4"/>
                  </a:lnTo>
                  <a:lnTo>
                    <a:pt x="424" y="4"/>
                  </a:lnTo>
                  <a:lnTo>
                    <a:pt x="424" y="4"/>
                  </a:lnTo>
                  <a:lnTo>
                    <a:pt x="428" y="6"/>
                  </a:lnTo>
                  <a:lnTo>
                    <a:pt x="428" y="6"/>
                  </a:lnTo>
                  <a:lnTo>
                    <a:pt x="430" y="4"/>
                  </a:lnTo>
                  <a:lnTo>
                    <a:pt x="430" y="4"/>
                  </a:lnTo>
                  <a:lnTo>
                    <a:pt x="432" y="6"/>
                  </a:lnTo>
                  <a:lnTo>
                    <a:pt x="432" y="6"/>
                  </a:lnTo>
                  <a:lnTo>
                    <a:pt x="436" y="4"/>
                  </a:lnTo>
                  <a:lnTo>
                    <a:pt x="436" y="4"/>
                  </a:lnTo>
                  <a:lnTo>
                    <a:pt x="442" y="4"/>
                  </a:lnTo>
                  <a:lnTo>
                    <a:pt x="442" y="4"/>
                  </a:lnTo>
                  <a:lnTo>
                    <a:pt x="446" y="4"/>
                  </a:lnTo>
                  <a:lnTo>
                    <a:pt x="446" y="4"/>
                  </a:lnTo>
                  <a:lnTo>
                    <a:pt x="448" y="4"/>
                  </a:lnTo>
                  <a:lnTo>
                    <a:pt x="448" y="4"/>
                  </a:lnTo>
                  <a:lnTo>
                    <a:pt x="450" y="6"/>
                  </a:lnTo>
                  <a:lnTo>
                    <a:pt x="450" y="6"/>
                  </a:lnTo>
                  <a:lnTo>
                    <a:pt x="452" y="6"/>
                  </a:lnTo>
                  <a:lnTo>
                    <a:pt x="452" y="6"/>
                  </a:lnTo>
                  <a:lnTo>
                    <a:pt x="452" y="6"/>
                  </a:lnTo>
                  <a:lnTo>
                    <a:pt x="452" y="6"/>
                  </a:lnTo>
                  <a:lnTo>
                    <a:pt x="458" y="6"/>
                  </a:lnTo>
                  <a:lnTo>
                    <a:pt x="458" y="6"/>
                  </a:lnTo>
                  <a:lnTo>
                    <a:pt x="458" y="8"/>
                  </a:lnTo>
                  <a:lnTo>
                    <a:pt x="458" y="8"/>
                  </a:lnTo>
                  <a:lnTo>
                    <a:pt x="460" y="6"/>
                  </a:lnTo>
                  <a:lnTo>
                    <a:pt x="460" y="6"/>
                  </a:lnTo>
                  <a:lnTo>
                    <a:pt x="464" y="8"/>
                  </a:lnTo>
                  <a:lnTo>
                    <a:pt x="464" y="8"/>
                  </a:lnTo>
                  <a:lnTo>
                    <a:pt x="468" y="6"/>
                  </a:lnTo>
                  <a:lnTo>
                    <a:pt x="468" y="6"/>
                  </a:lnTo>
                  <a:lnTo>
                    <a:pt x="472" y="6"/>
                  </a:lnTo>
                  <a:lnTo>
                    <a:pt x="472" y="6"/>
                  </a:lnTo>
                  <a:lnTo>
                    <a:pt x="476" y="6"/>
                  </a:lnTo>
                  <a:lnTo>
                    <a:pt x="476" y="6"/>
                  </a:lnTo>
                  <a:lnTo>
                    <a:pt x="478" y="6"/>
                  </a:lnTo>
                  <a:lnTo>
                    <a:pt x="478" y="6"/>
                  </a:lnTo>
                  <a:lnTo>
                    <a:pt x="482" y="6"/>
                  </a:lnTo>
                  <a:lnTo>
                    <a:pt x="482" y="6"/>
                  </a:lnTo>
                  <a:lnTo>
                    <a:pt x="484" y="6"/>
                  </a:lnTo>
                  <a:lnTo>
                    <a:pt x="484" y="6"/>
                  </a:lnTo>
                  <a:lnTo>
                    <a:pt x="490" y="4"/>
                  </a:lnTo>
                  <a:lnTo>
                    <a:pt x="490" y="4"/>
                  </a:lnTo>
                  <a:lnTo>
                    <a:pt x="490" y="6"/>
                  </a:lnTo>
                  <a:lnTo>
                    <a:pt x="490" y="6"/>
                  </a:lnTo>
                  <a:lnTo>
                    <a:pt x="494" y="6"/>
                  </a:lnTo>
                  <a:lnTo>
                    <a:pt x="494" y="6"/>
                  </a:lnTo>
                  <a:lnTo>
                    <a:pt x="498" y="6"/>
                  </a:lnTo>
                  <a:lnTo>
                    <a:pt x="498" y="6"/>
                  </a:lnTo>
                  <a:lnTo>
                    <a:pt x="506" y="6"/>
                  </a:lnTo>
                  <a:lnTo>
                    <a:pt x="516" y="6"/>
                  </a:lnTo>
                  <a:lnTo>
                    <a:pt x="516" y="6"/>
                  </a:lnTo>
                  <a:lnTo>
                    <a:pt x="518" y="6"/>
                  </a:lnTo>
                  <a:lnTo>
                    <a:pt x="518" y="6"/>
                  </a:lnTo>
                  <a:lnTo>
                    <a:pt x="522" y="6"/>
                  </a:lnTo>
                  <a:lnTo>
                    <a:pt x="522" y="6"/>
                  </a:lnTo>
                  <a:lnTo>
                    <a:pt x="522" y="6"/>
                  </a:lnTo>
                  <a:lnTo>
                    <a:pt x="524" y="6"/>
                  </a:lnTo>
                  <a:lnTo>
                    <a:pt x="524" y="6"/>
                  </a:lnTo>
                  <a:lnTo>
                    <a:pt x="526" y="6"/>
                  </a:lnTo>
                  <a:lnTo>
                    <a:pt x="526" y="6"/>
                  </a:lnTo>
                  <a:lnTo>
                    <a:pt x="528" y="6"/>
                  </a:lnTo>
                  <a:lnTo>
                    <a:pt x="528" y="6"/>
                  </a:lnTo>
                  <a:lnTo>
                    <a:pt x="530" y="6"/>
                  </a:lnTo>
                  <a:lnTo>
                    <a:pt x="530" y="6"/>
                  </a:lnTo>
                  <a:lnTo>
                    <a:pt x="532" y="6"/>
                  </a:lnTo>
                  <a:lnTo>
                    <a:pt x="532" y="6"/>
                  </a:lnTo>
                  <a:lnTo>
                    <a:pt x="534" y="6"/>
                  </a:lnTo>
                  <a:lnTo>
                    <a:pt x="534" y="6"/>
                  </a:lnTo>
                  <a:lnTo>
                    <a:pt x="536" y="6"/>
                  </a:lnTo>
                  <a:lnTo>
                    <a:pt x="536" y="6"/>
                  </a:lnTo>
                  <a:lnTo>
                    <a:pt x="540" y="4"/>
                  </a:lnTo>
                  <a:lnTo>
                    <a:pt x="540" y="4"/>
                  </a:lnTo>
                  <a:lnTo>
                    <a:pt x="542" y="4"/>
                  </a:lnTo>
                  <a:lnTo>
                    <a:pt x="542" y="4"/>
                  </a:lnTo>
                  <a:lnTo>
                    <a:pt x="544" y="4"/>
                  </a:lnTo>
                  <a:lnTo>
                    <a:pt x="544" y="4"/>
                  </a:lnTo>
                  <a:lnTo>
                    <a:pt x="548" y="4"/>
                  </a:lnTo>
                  <a:lnTo>
                    <a:pt x="548" y="4"/>
                  </a:lnTo>
                  <a:lnTo>
                    <a:pt x="550" y="4"/>
                  </a:lnTo>
                  <a:lnTo>
                    <a:pt x="550" y="4"/>
                  </a:lnTo>
                  <a:lnTo>
                    <a:pt x="556" y="4"/>
                  </a:lnTo>
                  <a:lnTo>
                    <a:pt x="560" y="4"/>
                  </a:lnTo>
                  <a:lnTo>
                    <a:pt x="560" y="4"/>
                  </a:lnTo>
                  <a:lnTo>
                    <a:pt x="562" y="6"/>
                  </a:lnTo>
                  <a:lnTo>
                    <a:pt x="562" y="6"/>
                  </a:lnTo>
                  <a:lnTo>
                    <a:pt x="568" y="6"/>
                  </a:lnTo>
                  <a:lnTo>
                    <a:pt x="568" y="6"/>
                  </a:lnTo>
                  <a:lnTo>
                    <a:pt x="570" y="4"/>
                  </a:lnTo>
                  <a:lnTo>
                    <a:pt x="570" y="4"/>
                  </a:lnTo>
                  <a:lnTo>
                    <a:pt x="572" y="4"/>
                  </a:lnTo>
                  <a:lnTo>
                    <a:pt x="572" y="4"/>
                  </a:lnTo>
                  <a:lnTo>
                    <a:pt x="574" y="4"/>
                  </a:lnTo>
                  <a:lnTo>
                    <a:pt x="574" y="4"/>
                  </a:lnTo>
                  <a:lnTo>
                    <a:pt x="574" y="4"/>
                  </a:lnTo>
                  <a:lnTo>
                    <a:pt x="578" y="6"/>
                  </a:lnTo>
                  <a:lnTo>
                    <a:pt x="578" y="6"/>
                  </a:lnTo>
                  <a:lnTo>
                    <a:pt x="582" y="6"/>
                  </a:lnTo>
                  <a:lnTo>
                    <a:pt x="582" y="6"/>
                  </a:lnTo>
                  <a:lnTo>
                    <a:pt x="582" y="6"/>
                  </a:lnTo>
                  <a:lnTo>
                    <a:pt x="582" y="6"/>
                  </a:lnTo>
                  <a:lnTo>
                    <a:pt x="582" y="6"/>
                  </a:lnTo>
                  <a:lnTo>
                    <a:pt x="582" y="6"/>
                  </a:lnTo>
                  <a:lnTo>
                    <a:pt x="582" y="6"/>
                  </a:lnTo>
                  <a:lnTo>
                    <a:pt x="582" y="6"/>
                  </a:lnTo>
                  <a:lnTo>
                    <a:pt x="586" y="6"/>
                  </a:lnTo>
                  <a:lnTo>
                    <a:pt x="586" y="6"/>
                  </a:lnTo>
                  <a:lnTo>
                    <a:pt x="590" y="6"/>
                  </a:lnTo>
                  <a:lnTo>
                    <a:pt x="590" y="6"/>
                  </a:lnTo>
                  <a:lnTo>
                    <a:pt x="592" y="4"/>
                  </a:lnTo>
                  <a:lnTo>
                    <a:pt x="592" y="4"/>
                  </a:lnTo>
                  <a:lnTo>
                    <a:pt x="594" y="4"/>
                  </a:lnTo>
                  <a:lnTo>
                    <a:pt x="596" y="6"/>
                  </a:lnTo>
                  <a:lnTo>
                    <a:pt x="596" y="6"/>
                  </a:lnTo>
                  <a:lnTo>
                    <a:pt x="600" y="8"/>
                  </a:lnTo>
                  <a:lnTo>
                    <a:pt x="600" y="8"/>
                  </a:lnTo>
                  <a:lnTo>
                    <a:pt x="602" y="8"/>
                  </a:lnTo>
                  <a:lnTo>
                    <a:pt x="604" y="8"/>
                  </a:lnTo>
                  <a:lnTo>
                    <a:pt x="604" y="8"/>
                  </a:lnTo>
                  <a:lnTo>
                    <a:pt x="606" y="8"/>
                  </a:lnTo>
                  <a:lnTo>
                    <a:pt x="606" y="8"/>
                  </a:lnTo>
                  <a:lnTo>
                    <a:pt x="612" y="8"/>
                  </a:lnTo>
                  <a:lnTo>
                    <a:pt x="612" y="8"/>
                  </a:lnTo>
                  <a:lnTo>
                    <a:pt x="616" y="6"/>
                  </a:lnTo>
                  <a:lnTo>
                    <a:pt x="616" y="6"/>
                  </a:lnTo>
                  <a:lnTo>
                    <a:pt x="618" y="8"/>
                  </a:lnTo>
                  <a:lnTo>
                    <a:pt x="618" y="8"/>
                  </a:lnTo>
                  <a:lnTo>
                    <a:pt x="618" y="8"/>
                  </a:lnTo>
                  <a:lnTo>
                    <a:pt x="620" y="10"/>
                  </a:lnTo>
                  <a:lnTo>
                    <a:pt x="620" y="10"/>
                  </a:lnTo>
                  <a:lnTo>
                    <a:pt x="628" y="8"/>
                  </a:lnTo>
                  <a:lnTo>
                    <a:pt x="628" y="8"/>
                  </a:lnTo>
                  <a:lnTo>
                    <a:pt x="630" y="6"/>
                  </a:lnTo>
                  <a:lnTo>
                    <a:pt x="630" y="6"/>
                  </a:lnTo>
                  <a:lnTo>
                    <a:pt x="634" y="8"/>
                  </a:lnTo>
                  <a:lnTo>
                    <a:pt x="634" y="8"/>
                  </a:lnTo>
                  <a:lnTo>
                    <a:pt x="636" y="6"/>
                  </a:lnTo>
                  <a:lnTo>
                    <a:pt x="636" y="6"/>
                  </a:lnTo>
                  <a:lnTo>
                    <a:pt x="644" y="6"/>
                  </a:lnTo>
                  <a:lnTo>
                    <a:pt x="644" y="6"/>
                  </a:lnTo>
                  <a:lnTo>
                    <a:pt x="646" y="6"/>
                  </a:lnTo>
                  <a:lnTo>
                    <a:pt x="646" y="6"/>
                  </a:lnTo>
                  <a:lnTo>
                    <a:pt x="650" y="4"/>
                  </a:lnTo>
                  <a:lnTo>
                    <a:pt x="650" y="4"/>
                  </a:lnTo>
                  <a:lnTo>
                    <a:pt x="652" y="6"/>
                  </a:lnTo>
                  <a:lnTo>
                    <a:pt x="652" y="6"/>
                  </a:lnTo>
                  <a:lnTo>
                    <a:pt x="658" y="6"/>
                  </a:lnTo>
                  <a:lnTo>
                    <a:pt x="658" y="6"/>
                  </a:lnTo>
                  <a:lnTo>
                    <a:pt x="660" y="6"/>
                  </a:lnTo>
                  <a:lnTo>
                    <a:pt x="660" y="6"/>
                  </a:lnTo>
                  <a:lnTo>
                    <a:pt x="664" y="4"/>
                  </a:lnTo>
                  <a:lnTo>
                    <a:pt x="664" y="4"/>
                  </a:lnTo>
                  <a:lnTo>
                    <a:pt x="664" y="6"/>
                  </a:lnTo>
                  <a:lnTo>
                    <a:pt x="664" y="6"/>
                  </a:lnTo>
                  <a:lnTo>
                    <a:pt x="668" y="6"/>
                  </a:lnTo>
                  <a:lnTo>
                    <a:pt x="668" y="6"/>
                  </a:lnTo>
                  <a:lnTo>
                    <a:pt x="670" y="6"/>
                  </a:lnTo>
                  <a:lnTo>
                    <a:pt x="670" y="6"/>
                  </a:lnTo>
                  <a:lnTo>
                    <a:pt x="674" y="6"/>
                  </a:lnTo>
                  <a:lnTo>
                    <a:pt x="674" y="6"/>
                  </a:lnTo>
                  <a:lnTo>
                    <a:pt x="676" y="6"/>
                  </a:lnTo>
                  <a:lnTo>
                    <a:pt x="678" y="6"/>
                  </a:lnTo>
                  <a:lnTo>
                    <a:pt x="678" y="6"/>
                  </a:lnTo>
                  <a:lnTo>
                    <a:pt x="682" y="4"/>
                  </a:lnTo>
                  <a:lnTo>
                    <a:pt x="682" y="4"/>
                  </a:lnTo>
                  <a:lnTo>
                    <a:pt x="684" y="4"/>
                  </a:lnTo>
                  <a:lnTo>
                    <a:pt x="684" y="4"/>
                  </a:lnTo>
                  <a:lnTo>
                    <a:pt x="686" y="4"/>
                  </a:lnTo>
                  <a:lnTo>
                    <a:pt x="686" y="4"/>
                  </a:lnTo>
                  <a:lnTo>
                    <a:pt x="688" y="4"/>
                  </a:lnTo>
                  <a:lnTo>
                    <a:pt x="688" y="4"/>
                  </a:lnTo>
                  <a:lnTo>
                    <a:pt x="690" y="6"/>
                  </a:lnTo>
                  <a:lnTo>
                    <a:pt x="690" y="6"/>
                  </a:lnTo>
                  <a:lnTo>
                    <a:pt x="692" y="6"/>
                  </a:lnTo>
                  <a:lnTo>
                    <a:pt x="692" y="6"/>
                  </a:lnTo>
                  <a:lnTo>
                    <a:pt x="696" y="6"/>
                  </a:lnTo>
                  <a:lnTo>
                    <a:pt x="696" y="6"/>
                  </a:lnTo>
                  <a:lnTo>
                    <a:pt x="700" y="6"/>
                  </a:lnTo>
                  <a:lnTo>
                    <a:pt x="700" y="6"/>
                  </a:lnTo>
                  <a:lnTo>
                    <a:pt x="706" y="6"/>
                  </a:lnTo>
                  <a:lnTo>
                    <a:pt x="706" y="6"/>
                  </a:lnTo>
                  <a:lnTo>
                    <a:pt x="706" y="8"/>
                  </a:lnTo>
                  <a:lnTo>
                    <a:pt x="706" y="8"/>
                  </a:lnTo>
                  <a:lnTo>
                    <a:pt x="708" y="10"/>
                  </a:lnTo>
                  <a:lnTo>
                    <a:pt x="708" y="10"/>
                  </a:lnTo>
                  <a:lnTo>
                    <a:pt x="712" y="10"/>
                  </a:lnTo>
                  <a:lnTo>
                    <a:pt x="712" y="10"/>
                  </a:lnTo>
                  <a:lnTo>
                    <a:pt x="716" y="8"/>
                  </a:lnTo>
                  <a:lnTo>
                    <a:pt x="716" y="8"/>
                  </a:lnTo>
                  <a:lnTo>
                    <a:pt x="722" y="8"/>
                  </a:lnTo>
                  <a:lnTo>
                    <a:pt x="722" y="8"/>
                  </a:lnTo>
                  <a:lnTo>
                    <a:pt x="728" y="6"/>
                  </a:lnTo>
                  <a:lnTo>
                    <a:pt x="728" y="6"/>
                  </a:lnTo>
                  <a:lnTo>
                    <a:pt x="728" y="6"/>
                  </a:lnTo>
                  <a:lnTo>
                    <a:pt x="728" y="6"/>
                  </a:lnTo>
                  <a:lnTo>
                    <a:pt x="734" y="4"/>
                  </a:lnTo>
                  <a:lnTo>
                    <a:pt x="734" y="4"/>
                  </a:lnTo>
                  <a:lnTo>
                    <a:pt x="746" y="4"/>
                  </a:lnTo>
                  <a:lnTo>
                    <a:pt x="746" y="4"/>
                  </a:lnTo>
                  <a:lnTo>
                    <a:pt x="746" y="6"/>
                  </a:lnTo>
                  <a:lnTo>
                    <a:pt x="746" y="6"/>
                  </a:lnTo>
                  <a:lnTo>
                    <a:pt x="750" y="6"/>
                  </a:lnTo>
                  <a:lnTo>
                    <a:pt x="754" y="6"/>
                  </a:lnTo>
                  <a:lnTo>
                    <a:pt x="754" y="6"/>
                  </a:lnTo>
                  <a:lnTo>
                    <a:pt x="764" y="6"/>
                  </a:lnTo>
                  <a:lnTo>
                    <a:pt x="764" y="6"/>
                  </a:lnTo>
                  <a:lnTo>
                    <a:pt x="766" y="6"/>
                  </a:lnTo>
                  <a:lnTo>
                    <a:pt x="766" y="6"/>
                  </a:lnTo>
                  <a:lnTo>
                    <a:pt x="766" y="6"/>
                  </a:lnTo>
                  <a:lnTo>
                    <a:pt x="770" y="6"/>
                  </a:lnTo>
                  <a:lnTo>
                    <a:pt x="770" y="6"/>
                  </a:lnTo>
                  <a:lnTo>
                    <a:pt x="774" y="6"/>
                  </a:lnTo>
                  <a:lnTo>
                    <a:pt x="774" y="6"/>
                  </a:lnTo>
                  <a:lnTo>
                    <a:pt x="774" y="6"/>
                  </a:lnTo>
                  <a:lnTo>
                    <a:pt x="774" y="6"/>
                  </a:lnTo>
                  <a:lnTo>
                    <a:pt x="776" y="6"/>
                  </a:lnTo>
                  <a:lnTo>
                    <a:pt x="776" y="6"/>
                  </a:lnTo>
                  <a:lnTo>
                    <a:pt x="776" y="6"/>
                  </a:lnTo>
                  <a:lnTo>
                    <a:pt x="776" y="6"/>
                  </a:lnTo>
                  <a:lnTo>
                    <a:pt x="778" y="8"/>
                  </a:lnTo>
                  <a:lnTo>
                    <a:pt x="778" y="8"/>
                  </a:lnTo>
                  <a:lnTo>
                    <a:pt x="780" y="8"/>
                  </a:lnTo>
                  <a:lnTo>
                    <a:pt x="780" y="8"/>
                  </a:lnTo>
                  <a:lnTo>
                    <a:pt x="780" y="6"/>
                  </a:lnTo>
                  <a:lnTo>
                    <a:pt x="780" y="6"/>
                  </a:lnTo>
                  <a:lnTo>
                    <a:pt x="784" y="6"/>
                  </a:lnTo>
                  <a:lnTo>
                    <a:pt x="786" y="6"/>
                  </a:lnTo>
                  <a:lnTo>
                    <a:pt x="786" y="6"/>
                  </a:lnTo>
                  <a:lnTo>
                    <a:pt x="788" y="8"/>
                  </a:lnTo>
                  <a:lnTo>
                    <a:pt x="788" y="8"/>
                  </a:lnTo>
                  <a:lnTo>
                    <a:pt x="790" y="8"/>
                  </a:lnTo>
                  <a:lnTo>
                    <a:pt x="790" y="8"/>
                  </a:lnTo>
                  <a:lnTo>
                    <a:pt x="790" y="6"/>
                  </a:lnTo>
                  <a:lnTo>
                    <a:pt x="790" y="6"/>
                  </a:lnTo>
                  <a:lnTo>
                    <a:pt x="790" y="6"/>
                  </a:lnTo>
                  <a:lnTo>
                    <a:pt x="798" y="6"/>
                  </a:lnTo>
                  <a:lnTo>
                    <a:pt x="798" y="6"/>
                  </a:lnTo>
                  <a:lnTo>
                    <a:pt x="800" y="6"/>
                  </a:lnTo>
                  <a:lnTo>
                    <a:pt x="800" y="6"/>
                  </a:lnTo>
                  <a:lnTo>
                    <a:pt x="806" y="6"/>
                  </a:lnTo>
                  <a:lnTo>
                    <a:pt x="806" y="6"/>
                  </a:lnTo>
                  <a:lnTo>
                    <a:pt x="806" y="6"/>
                  </a:lnTo>
                  <a:lnTo>
                    <a:pt x="806" y="6"/>
                  </a:lnTo>
                  <a:lnTo>
                    <a:pt x="808" y="6"/>
                  </a:lnTo>
                  <a:lnTo>
                    <a:pt x="808" y="6"/>
                  </a:lnTo>
                  <a:lnTo>
                    <a:pt x="810" y="6"/>
                  </a:lnTo>
                  <a:lnTo>
                    <a:pt x="810" y="6"/>
                  </a:lnTo>
                  <a:lnTo>
                    <a:pt x="812" y="4"/>
                  </a:lnTo>
                  <a:lnTo>
                    <a:pt x="812" y="4"/>
                  </a:lnTo>
                  <a:lnTo>
                    <a:pt x="816" y="4"/>
                  </a:lnTo>
                  <a:lnTo>
                    <a:pt x="816" y="4"/>
                  </a:lnTo>
                  <a:lnTo>
                    <a:pt x="818" y="4"/>
                  </a:lnTo>
                  <a:lnTo>
                    <a:pt x="818" y="4"/>
                  </a:lnTo>
                  <a:lnTo>
                    <a:pt x="818" y="4"/>
                  </a:lnTo>
                  <a:lnTo>
                    <a:pt x="818" y="4"/>
                  </a:lnTo>
                  <a:lnTo>
                    <a:pt x="818" y="4"/>
                  </a:lnTo>
                  <a:lnTo>
                    <a:pt x="818" y="4"/>
                  </a:lnTo>
                  <a:lnTo>
                    <a:pt x="818" y="4"/>
                  </a:lnTo>
                  <a:lnTo>
                    <a:pt x="818" y="4"/>
                  </a:lnTo>
                  <a:lnTo>
                    <a:pt x="820" y="4"/>
                  </a:lnTo>
                  <a:lnTo>
                    <a:pt x="820" y="4"/>
                  </a:lnTo>
                  <a:lnTo>
                    <a:pt x="822" y="4"/>
                  </a:lnTo>
                  <a:lnTo>
                    <a:pt x="822" y="4"/>
                  </a:lnTo>
                  <a:lnTo>
                    <a:pt x="826" y="4"/>
                  </a:lnTo>
                  <a:lnTo>
                    <a:pt x="826" y="4"/>
                  </a:lnTo>
                  <a:lnTo>
                    <a:pt x="832" y="4"/>
                  </a:lnTo>
                  <a:lnTo>
                    <a:pt x="832" y="4"/>
                  </a:lnTo>
                  <a:lnTo>
                    <a:pt x="834" y="4"/>
                  </a:lnTo>
                  <a:lnTo>
                    <a:pt x="834" y="4"/>
                  </a:lnTo>
                  <a:lnTo>
                    <a:pt x="838" y="4"/>
                  </a:lnTo>
                  <a:lnTo>
                    <a:pt x="838" y="4"/>
                  </a:lnTo>
                  <a:lnTo>
                    <a:pt x="840" y="4"/>
                  </a:lnTo>
                  <a:lnTo>
                    <a:pt x="840" y="4"/>
                  </a:lnTo>
                  <a:lnTo>
                    <a:pt x="848" y="4"/>
                  </a:lnTo>
                  <a:lnTo>
                    <a:pt x="848" y="4"/>
                  </a:lnTo>
                  <a:lnTo>
                    <a:pt x="850" y="6"/>
                  </a:lnTo>
                  <a:lnTo>
                    <a:pt x="850" y="6"/>
                  </a:lnTo>
                  <a:lnTo>
                    <a:pt x="852" y="6"/>
                  </a:lnTo>
                  <a:lnTo>
                    <a:pt x="852" y="6"/>
                  </a:lnTo>
                  <a:lnTo>
                    <a:pt x="854" y="6"/>
                  </a:lnTo>
                  <a:lnTo>
                    <a:pt x="854" y="6"/>
                  </a:lnTo>
                  <a:lnTo>
                    <a:pt x="856" y="6"/>
                  </a:lnTo>
                  <a:lnTo>
                    <a:pt x="856" y="6"/>
                  </a:lnTo>
                  <a:lnTo>
                    <a:pt x="860" y="6"/>
                  </a:lnTo>
                  <a:lnTo>
                    <a:pt x="860" y="6"/>
                  </a:lnTo>
                  <a:lnTo>
                    <a:pt x="860" y="6"/>
                  </a:lnTo>
                  <a:lnTo>
                    <a:pt x="860" y="6"/>
                  </a:lnTo>
                  <a:lnTo>
                    <a:pt x="860" y="6"/>
                  </a:lnTo>
                  <a:lnTo>
                    <a:pt x="860" y="6"/>
                  </a:lnTo>
                  <a:lnTo>
                    <a:pt x="864" y="4"/>
                  </a:lnTo>
                  <a:lnTo>
                    <a:pt x="864" y="4"/>
                  </a:lnTo>
                  <a:lnTo>
                    <a:pt x="868" y="4"/>
                  </a:lnTo>
                  <a:lnTo>
                    <a:pt x="868" y="4"/>
                  </a:lnTo>
                  <a:lnTo>
                    <a:pt x="874" y="4"/>
                  </a:lnTo>
                  <a:lnTo>
                    <a:pt x="880" y="4"/>
                  </a:lnTo>
                  <a:lnTo>
                    <a:pt x="880" y="4"/>
                  </a:lnTo>
                  <a:lnTo>
                    <a:pt x="888" y="4"/>
                  </a:lnTo>
                  <a:lnTo>
                    <a:pt x="888" y="4"/>
                  </a:lnTo>
                  <a:lnTo>
                    <a:pt x="894" y="4"/>
                  </a:lnTo>
                  <a:lnTo>
                    <a:pt x="894" y="4"/>
                  </a:lnTo>
                  <a:lnTo>
                    <a:pt x="896" y="4"/>
                  </a:lnTo>
                  <a:lnTo>
                    <a:pt x="896" y="4"/>
                  </a:lnTo>
                  <a:lnTo>
                    <a:pt x="912" y="4"/>
                  </a:lnTo>
                  <a:lnTo>
                    <a:pt x="912" y="4"/>
                  </a:lnTo>
                  <a:lnTo>
                    <a:pt x="914" y="6"/>
                  </a:lnTo>
                  <a:lnTo>
                    <a:pt x="914" y="6"/>
                  </a:lnTo>
                  <a:lnTo>
                    <a:pt x="928" y="6"/>
                  </a:lnTo>
                  <a:lnTo>
                    <a:pt x="928" y="6"/>
                  </a:lnTo>
                  <a:lnTo>
                    <a:pt x="930" y="6"/>
                  </a:lnTo>
                  <a:lnTo>
                    <a:pt x="930" y="6"/>
                  </a:lnTo>
                  <a:lnTo>
                    <a:pt x="932" y="4"/>
                  </a:lnTo>
                  <a:lnTo>
                    <a:pt x="932" y="4"/>
                  </a:lnTo>
                  <a:lnTo>
                    <a:pt x="936" y="6"/>
                  </a:lnTo>
                  <a:lnTo>
                    <a:pt x="936" y="6"/>
                  </a:lnTo>
                  <a:lnTo>
                    <a:pt x="942" y="4"/>
                  </a:lnTo>
                  <a:lnTo>
                    <a:pt x="942" y="4"/>
                  </a:lnTo>
                  <a:lnTo>
                    <a:pt x="948" y="4"/>
                  </a:lnTo>
                  <a:lnTo>
                    <a:pt x="948" y="4"/>
                  </a:lnTo>
                  <a:lnTo>
                    <a:pt x="950" y="4"/>
                  </a:lnTo>
                  <a:lnTo>
                    <a:pt x="950" y="4"/>
                  </a:lnTo>
                  <a:lnTo>
                    <a:pt x="950" y="4"/>
                  </a:lnTo>
                  <a:lnTo>
                    <a:pt x="950" y="4"/>
                  </a:lnTo>
                  <a:lnTo>
                    <a:pt x="952" y="4"/>
                  </a:lnTo>
                  <a:lnTo>
                    <a:pt x="952" y="4"/>
                  </a:lnTo>
                  <a:lnTo>
                    <a:pt x="954" y="4"/>
                  </a:lnTo>
                  <a:lnTo>
                    <a:pt x="954" y="4"/>
                  </a:lnTo>
                  <a:lnTo>
                    <a:pt x="956" y="4"/>
                  </a:lnTo>
                  <a:lnTo>
                    <a:pt x="960" y="4"/>
                  </a:lnTo>
                  <a:lnTo>
                    <a:pt x="960" y="4"/>
                  </a:lnTo>
                  <a:lnTo>
                    <a:pt x="962" y="4"/>
                  </a:lnTo>
                  <a:lnTo>
                    <a:pt x="962" y="4"/>
                  </a:lnTo>
                  <a:lnTo>
                    <a:pt x="968" y="4"/>
                  </a:lnTo>
                  <a:lnTo>
                    <a:pt x="968" y="4"/>
                  </a:lnTo>
                  <a:lnTo>
                    <a:pt x="968" y="4"/>
                  </a:lnTo>
                  <a:lnTo>
                    <a:pt x="968" y="2"/>
                  </a:lnTo>
                  <a:lnTo>
                    <a:pt x="968" y="2"/>
                  </a:lnTo>
                  <a:lnTo>
                    <a:pt x="980" y="6"/>
                  </a:lnTo>
                  <a:lnTo>
                    <a:pt x="980" y="6"/>
                  </a:lnTo>
                  <a:lnTo>
                    <a:pt x="984" y="6"/>
                  </a:lnTo>
                  <a:lnTo>
                    <a:pt x="988" y="6"/>
                  </a:lnTo>
                  <a:lnTo>
                    <a:pt x="988" y="6"/>
                  </a:lnTo>
                  <a:lnTo>
                    <a:pt x="990" y="4"/>
                  </a:lnTo>
                  <a:lnTo>
                    <a:pt x="990" y="4"/>
                  </a:lnTo>
                  <a:lnTo>
                    <a:pt x="994" y="4"/>
                  </a:lnTo>
                  <a:lnTo>
                    <a:pt x="994" y="4"/>
                  </a:lnTo>
                  <a:lnTo>
                    <a:pt x="996" y="4"/>
                  </a:lnTo>
                  <a:lnTo>
                    <a:pt x="996" y="4"/>
                  </a:lnTo>
                  <a:lnTo>
                    <a:pt x="998" y="6"/>
                  </a:lnTo>
                  <a:lnTo>
                    <a:pt x="998" y="6"/>
                  </a:lnTo>
                  <a:lnTo>
                    <a:pt x="1000" y="6"/>
                  </a:lnTo>
                  <a:lnTo>
                    <a:pt x="1000" y="6"/>
                  </a:lnTo>
                  <a:lnTo>
                    <a:pt x="1000" y="6"/>
                  </a:lnTo>
                  <a:lnTo>
                    <a:pt x="1000" y="6"/>
                  </a:lnTo>
                  <a:lnTo>
                    <a:pt x="1002" y="4"/>
                  </a:lnTo>
                  <a:lnTo>
                    <a:pt x="1002" y="4"/>
                  </a:lnTo>
                  <a:lnTo>
                    <a:pt x="1004" y="4"/>
                  </a:lnTo>
                  <a:lnTo>
                    <a:pt x="1004" y="4"/>
                  </a:lnTo>
                  <a:lnTo>
                    <a:pt x="1008" y="4"/>
                  </a:lnTo>
                  <a:lnTo>
                    <a:pt x="1008" y="4"/>
                  </a:lnTo>
                  <a:lnTo>
                    <a:pt x="1010" y="4"/>
                  </a:lnTo>
                  <a:lnTo>
                    <a:pt x="1010" y="4"/>
                  </a:lnTo>
                  <a:lnTo>
                    <a:pt x="1014" y="2"/>
                  </a:lnTo>
                  <a:lnTo>
                    <a:pt x="1014" y="2"/>
                  </a:lnTo>
                  <a:lnTo>
                    <a:pt x="1018" y="2"/>
                  </a:lnTo>
                  <a:lnTo>
                    <a:pt x="1018" y="2"/>
                  </a:lnTo>
                  <a:lnTo>
                    <a:pt x="1020" y="2"/>
                  </a:lnTo>
                  <a:lnTo>
                    <a:pt x="1024" y="4"/>
                  </a:lnTo>
                  <a:lnTo>
                    <a:pt x="1024" y="4"/>
                  </a:lnTo>
                  <a:lnTo>
                    <a:pt x="1026" y="2"/>
                  </a:lnTo>
                  <a:lnTo>
                    <a:pt x="1026" y="2"/>
                  </a:lnTo>
                  <a:lnTo>
                    <a:pt x="1030" y="4"/>
                  </a:lnTo>
                  <a:lnTo>
                    <a:pt x="1030" y="4"/>
                  </a:lnTo>
                  <a:lnTo>
                    <a:pt x="1032" y="4"/>
                  </a:lnTo>
                  <a:lnTo>
                    <a:pt x="1032" y="4"/>
                  </a:lnTo>
                  <a:lnTo>
                    <a:pt x="1032" y="4"/>
                  </a:lnTo>
                  <a:lnTo>
                    <a:pt x="1032" y="4"/>
                  </a:lnTo>
                  <a:lnTo>
                    <a:pt x="1034" y="6"/>
                  </a:lnTo>
                  <a:lnTo>
                    <a:pt x="1034" y="6"/>
                  </a:lnTo>
                  <a:lnTo>
                    <a:pt x="1036" y="6"/>
                  </a:lnTo>
                  <a:lnTo>
                    <a:pt x="1036" y="6"/>
                  </a:lnTo>
                  <a:lnTo>
                    <a:pt x="1038" y="6"/>
                  </a:lnTo>
                  <a:lnTo>
                    <a:pt x="1038" y="6"/>
                  </a:lnTo>
                  <a:lnTo>
                    <a:pt x="1038" y="4"/>
                  </a:lnTo>
                  <a:lnTo>
                    <a:pt x="1038" y="4"/>
                  </a:lnTo>
                  <a:lnTo>
                    <a:pt x="1042" y="4"/>
                  </a:lnTo>
                  <a:lnTo>
                    <a:pt x="1042" y="4"/>
                  </a:lnTo>
                  <a:lnTo>
                    <a:pt x="1046" y="2"/>
                  </a:lnTo>
                  <a:lnTo>
                    <a:pt x="1046" y="2"/>
                  </a:lnTo>
                  <a:lnTo>
                    <a:pt x="1058" y="6"/>
                  </a:lnTo>
                  <a:lnTo>
                    <a:pt x="1058" y="6"/>
                  </a:lnTo>
                  <a:lnTo>
                    <a:pt x="1060" y="4"/>
                  </a:lnTo>
                  <a:lnTo>
                    <a:pt x="1060" y="4"/>
                  </a:lnTo>
                  <a:lnTo>
                    <a:pt x="1066" y="4"/>
                  </a:lnTo>
                  <a:lnTo>
                    <a:pt x="1066" y="4"/>
                  </a:lnTo>
                  <a:lnTo>
                    <a:pt x="1068" y="6"/>
                  </a:lnTo>
                  <a:lnTo>
                    <a:pt x="1068" y="6"/>
                  </a:lnTo>
                  <a:lnTo>
                    <a:pt x="1070" y="4"/>
                  </a:lnTo>
                  <a:lnTo>
                    <a:pt x="1070" y="4"/>
                  </a:lnTo>
                  <a:lnTo>
                    <a:pt x="1070" y="4"/>
                  </a:lnTo>
                  <a:lnTo>
                    <a:pt x="1076" y="4"/>
                  </a:lnTo>
                  <a:lnTo>
                    <a:pt x="1080" y="6"/>
                  </a:lnTo>
                  <a:lnTo>
                    <a:pt x="1080" y="6"/>
                  </a:lnTo>
                  <a:lnTo>
                    <a:pt x="1082" y="4"/>
                  </a:lnTo>
                  <a:lnTo>
                    <a:pt x="1082" y="4"/>
                  </a:lnTo>
                  <a:lnTo>
                    <a:pt x="1082" y="4"/>
                  </a:lnTo>
                  <a:lnTo>
                    <a:pt x="1082" y="4"/>
                  </a:lnTo>
                  <a:lnTo>
                    <a:pt x="1088" y="4"/>
                  </a:lnTo>
                  <a:lnTo>
                    <a:pt x="1088" y="4"/>
                  </a:lnTo>
                  <a:lnTo>
                    <a:pt x="1092" y="2"/>
                  </a:lnTo>
                  <a:lnTo>
                    <a:pt x="1092" y="2"/>
                  </a:lnTo>
                  <a:lnTo>
                    <a:pt x="1098" y="2"/>
                  </a:lnTo>
                  <a:lnTo>
                    <a:pt x="1098" y="2"/>
                  </a:lnTo>
                  <a:lnTo>
                    <a:pt x="1102" y="2"/>
                  </a:lnTo>
                  <a:lnTo>
                    <a:pt x="1102" y="2"/>
                  </a:lnTo>
                  <a:lnTo>
                    <a:pt x="1104" y="2"/>
                  </a:lnTo>
                  <a:lnTo>
                    <a:pt x="1104" y="2"/>
                  </a:lnTo>
                  <a:lnTo>
                    <a:pt x="1108" y="2"/>
                  </a:lnTo>
                  <a:lnTo>
                    <a:pt x="1108" y="2"/>
                  </a:lnTo>
                  <a:lnTo>
                    <a:pt x="1112" y="2"/>
                  </a:lnTo>
                  <a:lnTo>
                    <a:pt x="1112" y="2"/>
                  </a:lnTo>
                  <a:lnTo>
                    <a:pt x="1112" y="2"/>
                  </a:lnTo>
                  <a:lnTo>
                    <a:pt x="1112" y="2"/>
                  </a:lnTo>
                  <a:lnTo>
                    <a:pt x="1118" y="0"/>
                  </a:lnTo>
                  <a:lnTo>
                    <a:pt x="1118" y="0"/>
                  </a:lnTo>
                  <a:lnTo>
                    <a:pt x="1122" y="2"/>
                  </a:lnTo>
                  <a:lnTo>
                    <a:pt x="1122" y="2"/>
                  </a:lnTo>
                  <a:lnTo>
                    <a:pt x="1122" y="2"/>
                  </a:lnTo>
                  <a:lnTo>
                    <a:pt x="1122" y="2"/>
                  </a:lnTo>
                  <a:lnTo>
                    <a:pt x="1126" y="2"/>
                  </a:lnTo>
                  <a:lnTo>
                    <a:pt x="1126" y="2"/>
                  </a:lnTo>
                  <a:lnTo>
                    <a:pt x="1126" y="2"/>
                  </a:lnTo>
                  <a:lnTo>
                    <a:pt x="1126" y="2"/>
                  </a:lnTo>
                  <a:lnTo>
                    <a:pt x="1130" y="0"/>
                  </a:lnTo>
                  <a:lnTo>
                    <a:pt x="1130" y="0"/>
                  </a:lnTo>
                  <a:lnTo>
                    <a:pt x="1136" y="0"/>
                  </a:lnTo>
                  <a:lnTo>
                    <a:pt x="1136" y="0"/>
                  </a:lnTo>
                  <a:lnTo>
                    <a:pt x="1140" y="0"/>
                  </a:lnTo>
                  <a:lnTo>
                    <a:pt x="1140" y="0"/>
                  </a:lnTo>
                  <a:lnTo>
                    <a:pt x="1146" y="0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2" y="0"/>
                  </a:lnTo>
                  <a:lnTo>
                    <a:pt x="1156" y="0"/>
                  </a:lnTo>
                  <a:lnTo>
                    <a:pt x="1156" y="0"/>
                  </a:lnTo>
                  <a:lnTo>
                    <a:pt x="1158" y="0"/>
                  </a:lnTo>
                  <a:lnTo>
                    <a:pt x="1158" y="0"/>
                  </a:lnTo>
                  <a:lnTo>
                    <a:pt x="1162" y="0"/>
                  </a:lnTo>
                  <a:lnTo>
                    <a:pt x="1162" y="0"/>
                  </a:lnTo>
                  <a:lnTo>
                    <a:pt x="1166" y="0"/>
                  </a:lnTo>
                  <a:lnTo>
                    <a:pt x="1166" y="0"/>
                  </a:lnTo>
                  <a:lnTo>
                    <a:pt x="1172" y="0"/>
                  </a:lnTo>
                  <a:lnTo>
                    <a:pt x="1172" y="0"/>
                  </a:lnTo>
                  <a:lnTo>
                    <a:pt x="1174" y="0"/>
                  </a:lnTo>
                  <a:lnTo>
                    <a:pt x="1174" y="0"/>
                  </a:lnTo>
                  <a:lnTo>
                    <a:pt x="1178" y="2"/>
                  </a:lnTo>
                  <a:lnTo>
                    <a:pt x="1178" y="2"/>
                  </a:lnTo>
                  <a:lnTo>
                    <a:pt x="1186" y="2"/>
                  </a:lnTo>
                  <a:lnTo>
                    <a:pt x="1186" y="2"/>
                  </a:lnTo>
                  <a:lnTo>
                    <a:pt x="1190" y="2"/>
                  </a:lnTo>
                  <a:lnTo>
                    <a:pt x="1194" y="2"/>
                  </a:lnTo>
                  <a:lnTo>
                    <a:pt x="1194" y="2"/>
                  </a:lnTo>
                  <a:lnTo>
                    <a:pt x="1194" y="2"/>
                  </a:lnTo>
                  <a:lnTo>
                    <a:pt x="1194" y="2"/>
                  </a:lnTo>
                  <a:lnTo>
                    <a:pt x="1196" y="2"/>
                  </a:lnTo>
                  <a:lnTo>
                    <a:pt x="1196" y="2"/>
                  </a:lnTo>
                  <a:lnTo>
                    <a:pt x="1196" y="2"/>
                  </a:lnTo>
                  <a:lnTo>
                    <a:pt x="1196" y="2"/>
                  </a:lnTo>
                  <a:lnTo>
                    <a:pt x="1198" y="2"/>
                  </a:lnTo>
                  <a:lnTo>
                    <a:pt x="1198" y="2"/>
                  </a:lnTo>
                  <a:lnTo>
                    <a:pt x="1200" y="0"/>
                  </a:lnTo>
                  <a:lnTo>
                    <a:pt x="1200" y="0"/>
                  </a:lnTo>
                  <a:lnTo>
                    <a:pt x="1206" y="2"/>
                  </a:lnTo>
                  <a:lnTo>
                    <a:pt x="1206" y="2"/>
                  </a:lnTo>
                  <a:lnTo>
                    <a:pt x="1208" y="2"/>
                  </a:lnTo>
                  <a:lnTo>
                    <a:pt x="1208" y="2"/>
                  </a:lnTo>
                  <a:lnTo>
                    <a:pt x="1210" y="2"/>
                  </a:lnTo>
                  <a:lnTo>
                    <a:pt x="1210" y="2"/>
                  </a:lnTo>
                  <a:lnTo>
                    <a:pt x="1210" y="2"/>
                  </a:lnTo>
                  <a:lnTo>
                    <a:pt x="1210" y="2"/>
                  </a:lnTo>
                  <a:lnTo>
                    <a:pt x="1210" y="2"/>
                  </a:lnTo>
                  <a:lnTo>
                    <a:pt x="1210" y="2"/>
                  </a:lnTo>
                  <a:lnTo>
                    <a:pt x="1212" y="2"/>
                  </a:lnTo>
                  <a:lnTo>
                    <a:pt x="1212" y="2"/>
                  </a:lnTo>
                  <a:lnTo>
                    <a:pt x="1218" y="2"/>
                  </a:lnTo>
                  <a:lnTo>
                    <a:pt x="1218" y="2"/>
                  </a:lnTo>
                  <a:lnTo>
                    <a:pt x="1220" y="0"/>
                  </a:lnTo>
                  <a:lnTo>
                    <a:pt x="1220" y="0"/>
                  </a:lnTo>
                  <a:lnTo>
                    <a:pt x="1222" y="0"/>
                  </a:lnTo>
                  <a:lnTo>
                    <a:pt x="1222" y="0"/>
                  </a:lnTo>
                  <a:lnTo>
                    <a:pt x="1224" y="2"/>
                  </a:lnTo>
                  <a:lnTo>
                    <a:pt x="1224" y="2"/>
                  </a:lnTo>
                  <a:lnTo>
                    <a:pt x="1232" y="2"/>
                  </a:lnTo>
                  <a:lnTo>
                    <a:pt x="1232" y="2"/>
                  </a:lnTo>
                  <a:lnTo>
                    <a:pt x="1234" y="2"/>
                  </a:lnTo>
                  <a:lnTo>
                    <a:pt x="1234" y="2"/>
                  </a:lnTo>
                  <a:lnTo>
                    <a:pt x="1234" y="2"/>
                  </a:lnTo>
                  <a:lnTo>
                    <a:pt x="1234" y="2"/>
                  </a:lnTo>
                  <a:lnTo>
                    <a:pt x="1236" y="2"/>
                  </a:lnTo>
                  <a:lnTo>
                    <a:pt x="1236" y="2"/>
                  </a:lnTo>
                  <a:lnTo>
                    <a:pt x="1240" y="2"/>
                  </a:lnTo>
                  <a:lnTo>
                    <a:pt x="1240" y="2"/>
                  </a:lnTo>
                  <a:lnTo>
                    <a:pt x="1246" y="2"/>
                  </a:lnTo>
                  <a:lnTo>
                    <a:pt x="1246" y="2"/>
                  </a:lnTo>
                  <a:lnTo>
                    <a:pt x="1246" y="2"/>
                  </a:lnTo>
                  <a:lnTo>
                    <a:pt x="1246" y="2"/>
                  </a:lnTo>
                  <a:lnTo>
                    <a:pt x="1246" y="2"/>
                  </a:lnTo>
                  <a:lnTo>
                    <a:pt x="1246" y="2"/>
                  </a:lnTo>
                  <a:lnTo>
                    <a:pt x="1248" y="2"/>
                  </a:lnTo>
                  <a:lnTo>
                    <a:pt x="1248" y="2"/>
                  </a:lnTo>
                  <a:lnTo>
                    <a:pt x="1252" y="4"/>
                  </a:lnTo>
                  <a:lnTo>
                    <a:pt x="1252" y="4"/>
                  </a:lnTo>
                  <a:lnTo>
                    <a:pt x="1254" y="2"/>
                  </a:lnTo>
                  <a:lnTo>
                    <a:pt x="1254" y="2"/>
                  </a:lnTo>
                  <a:lnTo>
                    <a:pt x="1256" y="4"/>
                  </a:lnTo>
                  <a:lnTo>
                    <a:pt x="1256" y="4"/>
                  </a:lnTo>
                  <a:lnTo>
                    <a:pt x="1260" y="4"/>
                  </a:lnTo>
                  <a:lnTo>
                    <a:pt x="1260" y="4"/>
                  </a:lnTo>
                  <a:lnTo>
                    <a:pt x="1260" y="2"/>
                  </a:lnTo>
                  <a:lnTo>
                    <a:pt x="1260" y="2"/>
                  </a:lnTo>
                  <a:lnTo>
                    <a:pt x="1262" y="4"/>
                  </a:lnTo>
                  <a:lnTo>
                    <a:pt x="1262" y="4"/>
                  </a:lnTo>
                  <a:lnTo>
                    <a:pt x="1266" y="2"/>
                  </a:lnTo>
                  <a:lnTo>
                    <a:pt x="1266" y="2"/>
                  </a:lnTo>
                  <a:lnTo>
                    <a:pt x="1268" y="6"/>
                  </a:lnTo>
                  <a:lnTo>
                    <a:pt x="1268" y="6"/>
                  </a:lnTo>
                  <a:lnTo>
                    <a:pt x="1276" y="6"/>
                  </a:lnTo>
                  <a:lnTo>
                    <a:pt x="1276" y="6"/>
                  </a:lnTo>
                  <a:lnTo>
                    <a:pt x="1280" y="6"/>
                  </a:lnTo>
                  <a:lnTo>
                    <a:pt x="1282" y="4"/>
                  </a:lnTo>
                  <a:lnTo>
                    <a:pt x="1282" y="4"/>
                  </a:lnTo>
                  <a:lnTo>
                    <a:pt x="1286" y="4"/>
                  </a:lnTo>
                  <a:lnTo>
                    <a:pt x="1286" y="4"/>
                  </a:lnTo>
                  <a:lnTo>
                    <a:pt x="1288" y="4"/>
                  </a:lnTo>
                  <a:lnTo>
                    <a:pt x="1288" y="4"/>
                  </a:lnTo>
                  <a:lnTo>
                    <a:pt x="1294" y="4"/>
                  </a:lnTo>
                  <a:lnTo>
                    <a:pt x="1294" y="4"/>
                  </a:lnTo>
                  <a:lnTo>
                    <a:pt x="1300" y="2"/>
                  </a:lnTo>
                  <a:lnTo>
                    <a:pt x="1300" y="2"/>
                  </a:lnTo>
                  <a:lnTo>
                    <a:pt x="1302" y="4"/>
                  </a:lnTo>
                  <a:lnTo>
                    <a:pt x="1302" y="4"/>
                  </a:lnTo>
                  <a:lnTo>
                    <a:pt x="1304" y="4"/>
                  </a:lnTo>
                  <a:lnTo>
                    <a:pt x="1304" y="4"/>
                  </a:lnTo>
                  <a:lnTo>
                    <a:pt x="1314" y="2"/>
                  </a:lnTo>
                  <a:lnTo>
                    <a:pt x="1314" y="2"/>
                  </a:lnTo>
                  <a:lnTo>
                    <a:pt x="1318" y="4"/>
                  </a:lnTo>
                  <a:lnTo>
                    <a:pt x="1322" y="2"/>
                  </a:lnTo>
                  <a:lnTo>
                    <a:pt x="1322" y="2"/>
                  </a:lnTo>
                  <a:lnTo>
                    <a:pt x="1324" y="4"/>
                  </a:lnTo>
                  <a:lnTo>
                    <a:pt x="1324" y="4"/>
                  </a:lnTo>
                  <a:lnTo>
                    <a:pt x="1326" y="4"/>
                  </a:lnTo>
                  <a:lnTo>
                    <a:pt x="1326" y="4"/>
                  </a:lnTo>
                  <a:lnTo>
                    <a:pt x="1328" y="4"/>
                  </a:lnTo>
                  <a:lnTo>
                    <a:pt x="1328" y="4"/>
                  </a:lnTo>
                  <a:lnTo>
                    <a:pt x="1328" y="4"/>
                  </a:lnTo>
                  <a:lnTo>
                    <a:pt x="1328" y="4"/>
                  </a:lnTo>
                  <a:lnTo>
                    <a:pt x="1330" y="4"/>
                  </a:lnTo>
                  <a:lnTo>
                    <a:pt x="1330" y="4"/>
                  </a:lnTo>
                  <a:lnTo>
                    <a:pt x="1330" y="4"/>
                  </a:lnTo>
                  <a:lnTo>
                    <a:pt x="1330" y="4"/>
                  </a:lnTo>
                  <a:lnTo>
                    <a:pt x="1332" y="4"/>
                  </a:lnTo>
                  <a:lnTo>
                    <a:pt x="1332" y="4"/>
                  </a:lnTo>
                  <a:lnTo>
                    <a:pt x="1336" y="4"/>
                  </a:lnTo>
                  <a:lnTo>
                    <a:pt x="1336" y="4"/>
                  </a:lnTo>
                  <a:lnTo>
                    <a:pt x="1340" y="4"/>
                  </a:lnTo>
                  <a:lnTo>
                    <a:pt x="1344" y="4"/>
                  </a:lnTo>
                  <a:lnTo>
                    <a:pt x="1344" y="4"/>
                  </a:lnTo>
                  <a:lnTo>
                    <a:pt x="1346" y="4"/>
                  </a:lnTo>
                  <a:lnTo>
                    <a:pt x="1346" y="4"/>
                  </a:lnTo>
                  <a:lnTo>
                    <a:pt x="1348" y="4"/>
                  </a:lnTo>
                  <a:lnTo>
                    <a:pt x="1348" y="4"/>
                  </a:lnTo>
                  <a:lnTo>
                    <a:pt x="1352" y="4"/>
                  </a:lnTo>
                  <a:lnTo>
                    <a:pt x="1352" y="4"/>
                  </a:lnTo>
                  <a:lnTo>
                    <a:pt x="1356" y="4"/>
                  </a:lnTo>
                  <a:lnTo>
                    <a:pt x="1356" y="4"/>
                  </a:lnTo>
                  <a:lnTo>
                    <a:pt x="1360" y="4"/>
                  </a:lnTo>
                  <a:lnTo>
                    <a:pt x="1360" y="4"/>
                  </a:lnTo>
                  <a:lnTo>
                    <a:pt x="1362" y="4"/>
                  </a:lnTo>
                  <a:lnTo>
                    <a:pt x="1362" y="4"/>
                  </a:lnTo>
                  <a:lnTo>
                    <a:pt x="1366" y="6"/>
                  </a:lnTo>
                  <a:lnTo>
                    <a:pt x="1366" y="6"/>
                  </a:lnTo>
                  <a:lnTo>
                    <a:pt x="1366" y="8"/>
                  </a:lnTo>
                  <a:lnTo>
                    <a:pt x="1366" y="8"/>
                  </a:lnTo>
                  <a:lnTo>
                    <a:pt x="1368" y="8"/>
                  </a:lnTo>
                  <a:lnTo>
                    <a:pt x="1370" y="8"/>
                  </a:lnTo>
                  <a:lnTo>
                    <a:pt x="1370" y="8"/>
                  </a:lnTo>
                  <a:lnTo>
                    <a:pt x="1374" y="6"/>
                  </a:lnTo>
                  <a:lnTo>
                    <a:pt x="1374" y="6"/>
                  </a:lnTo>
                  <a:lnTo>
                    <a:pt x="1376" y="6"/>
                  </a:lnTo>
                  <a:lnTo>
                    <a:pt x="1376" y="6"/>
                  </a:lnTo>
                  <a:lnTo>
                    <a:pt x="1376" y="4"/>
                  </a:lnTo>
                  <a:lnTo>
                    <a:pt x="1376" y="4"/>
                  </a:lnTo>
                  <a:lnTo>
                    <a:pt x="1376" y="6"/>
                  </a:lnTo>
                  <a:lnTo>
                    <a:pt x="1376" y="6"/>
                  </a:lnTo>
                  <a:lnTo>
                    <a:pt x="1378" y="4"/>
                  </a:lnTo>
                  <a:lnTo>
                    <a:pt x="1378" y="4"/>
                  </a:lnTo>
                  <a:lnTo>
                    <a:pt x="1378" y="6"/>
                  </a:lnTo>
                  <a:lnTo>
                    <a:pt x="1378" y="6"/>
                  </a:lnTo>
                  <a:lnTo>
                    <a:pt x="1384" y="4"/>
                  </a:lnTo>
                  <a:lnTo>
                    <a:pt x="1384" y="4"/>
                  </a:lnTo>
                  <a:lnTo>
                    <a:pt x="1386" y="6"/>
                  </a:lnTo>
                  <a:lnTo>
                    <a:pt x="1386" y="6"/>
                  </a:lnTo>
                  <a:lnTo>
                    <a:pt x="1386" y="4"/>
                  </a:lnTo>
                  <a:lnTo>
                    <a:pt x="1386" y="4"/>
                  </a:lnTo>
                  <a:lnTo>
                    <a:pt x="1386" y="4"/>
                  </a:lnTo>
                  <a:lnTo>
                    <a:pt x="1386" y="4"/>
                  </a:lnTo>
                  <a:lnTo>
                    <a:pt x="1390" y="6"/>
                  </a:lnTo>
                  <a:lnTo>
                    <a:pt x="1390" y="6"/>
                  </a:lnTo>
                  <a:lnTo>
                    <a:pt x="1394" y="6"/>
                  </a:lnTo>
                  <a:lnTo>
                    <a:pt x="1394" y="6"/>
                  </a:lnTo>
                  <a:lnTo>
                    <a:pt x="1396" y="6"/>
                  </a:lnTo>
                  <a:lnTo>
                    <a:pt x="1396" y="6"/>
                  </a:lnTo>
                  <a:lnTo>
                    <a:pt x="1398" y="6"/>
                  </a:lnTo>
                  <a:lnTo>
                    <a:pt x="1398" y="6"/>
                  </a:lnTo>
                  <a:lnTo>
                    <a:pt x="1400" y="4"/>
                  </a:lnTo>
                  <a:lnTo>
                    <a:pt x="1400" y="4"/>
                  </a:lnTo>
                  <a:lnTo>
                    <a:pt x="1402" y="6"/>
                  </a:lnTo>
                  <a:lnTo>
                    <a:pt x="1402" y="6"/>
                  </a:lnTo>
                  <a:lnTo>
                    <a:pt x="1402" y="4"/>
                  </a:lnTo>
                  <a:lnTo>
                    <a:pt x="1402" y="4"/>
                  </a:lnTo>
                  <a:lnTo>
                    <a:pt x="1404" y="4"/>
                  </a:lnTo>
                  <a:lnTo>
                    <a:pt x="1404" y="4"/>
                  </a:lnTo>
                  <a:lnTo>
                    <a:pt x="1404" y="6"/>
                  </a:lnTo>
                  <a:lnTo>
                    <a:pt x="1404" y="6"/>
                  </a:lnTo>
                  <a:lnTo>
                    <a:pt x="1406" y="4"/>
                  </a:lnTo>
                  <a:lnTo>
                    <a:pt x="1406" y="4"/>
                  </a:lnTo>
                  <a:lnTo>
                    <a:pt x="1412" y="6"/>
                  </a:lnTo>
                  <a:lnTo>
                    <a:pt x="1412" y="6"/>
                  </a:lnTo>
                  <a:lnTo>
                    <a:pt x="1414" y="6"/>
                  </a:lnTo>
                  <a:lnTo>
                    <a:pt x="1414" y="6"/>
                  </a:lnTo>
                  <a:lnTo>
                    <a:pt x="1416" y="6"/>
                  </a:lnTo>
                  <a:lnTo>
                    <a:pt x="1416" y="6"/>
                  </a:lnTo>
                  <a:lnTo>
                    <a:pt x="1420" y="4"/>
                  </a:lnTo>
                  <a:lnTo>
                    <a:pt x="1420" y="4"/>
                  </a:lnTo>
                  <a:lnTo>
                    <a:pt x="1428" y="4"/>
                  </a:lnTo>
                  <a:lnTo>
                    <a:pt x="1428" y="4"/>
                  </a:lnTo>
                  <a:lnTo>
                    <a:pt x="1432" y="4"/>
                  </a:lnTo>
                  <a:lnTo>
                    <a:pt x="1432" y="4"/>
                  </a:lnTo>
                  <a:lnTo>
                    <a:pt x="1434" y="6"/>
                  </a:lnTo>
                  <a:lnTo>
                    <a:pt x="1434" y="6"/>
                  </a:lnTo>
                  <a:lnTo>
                    <a:pt x="1436" y="6"/>
                  </a:lnTo>
                  <a:lnTo>
                    <a:pt x="1436" y="6"/>
                  </a:lnTo>
                  <a:lnTo>
                    <a:pt x="1438" y="6"/>
                  </a:lnTo>
                  <a:lnTo>
                    <a:pt x="1438" y="6"/>
                  </a:lnTo>
                  <a:lnTo>
                    <a:pt x="1440" y="6"/>
                  </a:lnTo>
                  <a:lnTo>
                    <a:pt x="1440" y="6"/>
                  </a:lnTo>
                  <a:lnTo>
                    <a:pt x="1444" y="6"/>
                  </a:lnTo>
                  <a:lnTo>
                    <a:pt x="1444" y="6"/>
                  </a:lnTo>
                  <a:lnTo>
                    <a:pt x="1446" y="6"/>
                  </a:lnTo>
                  <a:lnTo>
                    <a:pt x="1446" y="6"/>
                  </a:lnTo>
                  <a:lnTo>
                    <a:pt x="1450" y="6"/>
                  </a:lnTo>
                  <a:lnTo>
                    <a:pt x="1450" y="6"/>
                  </a:lnTo>
                  <a:lnTo>
                    <a:pt x="1452" y="6"/>
                  </a:lnTo>
                  <a:lnTo>
                    <a:pt x="1452" y="6"/>
                  </a:lnTo>
                  <a:lnTo>
                    <a:pt x="1454" y="4"/>
                  </a:lnTo>
                  <a:lnTo>
                    <a:pt x="1454" y="4"/>
                  </a:lnTo>
                  <a:lnTo>
                    <a:pt x="1456" y="4"/>
                  </a:lnTo>
                  <a:lnTo>
                    <a:pt x="1456" y="4"/>
                  </a:lnTo>
                  <a:lnTo>
                    <a:pt x="1462" y="4"/>
                  </a:lnTo>
                  <a:lnTo>
                    <a:pt x="1462" y="4"/>
                  </a:lnTo>
                  <a:lnTo>
                    <a:pt x="1464" y="4"/>
                  </a:lnTo>
                  <a:lnTo>
                    <a:pt x="1464" y="4"/>
                  </a:lnTo>
                  <a:lnTo>
                    <a:pt x="1468" y="4"/>
                  </a:lnTo>
                  <a:lnTo>
                    <a:pt x="1468" y="4"/>
                  </a:lnTo>
                  <a:lnTo>
                    <a:pt x="1472" y="4"/>
                  </a:lnTo>
                  <a:lnTo>
                    <a:pt x="1472" y="4"/>
                  </a:lnTo>
                  <a:lnTo>
                    <a:pt x="1476" y="4"/>
                  </a:lnTo>
                  <a:lnTo>
                    <a:pt x="1476" y="4"/>
                  </a:lnTo>
                  <a:lnTo>
                    <a:pt x="1480" y="4"/>
                  </a:lnTo>
                  <a:lnTo>
                    <a:pt x="1480" y="4"/>
                  </a:lnTo>
                  <a:lnTo>
                    <a:pt x="1484" y="6"/>
                  </a:lnTo>
                  <a:lnTo>
                    <a:pt x="1484" y="6"/>
                  </a:lnTo>
                  <a:lnTo>
                    <a:pt x="1486" y="6"/>
                  </a:lnTo>
                  <a:lnTo>
                    <a:pt x="1486" y="6"/>
                  </a:lnTo>
                  <a:lnTo>
                    <a:pt x="1488" y="6"/>
                  </a:lnTo>
                  <a:lnTo>
                    <a:pt x="1488" y="6"/>
                  </a:lnTo>
                  <a:lnTo>
                    <a:pt x="1492" y="4"/>
                  </a:lnTo>
                  <a:lnTo>
                    <a:pt x="1492" y="4"/>
                  </a:lnTo>
                  <a:lnTo>
                    <a:pt x="1498" y="4"/>
                  </a:lnTo>
                  <a:lnTo>
                    <a:pt x="1498" y="4"/>
                  </a:lnTo>
                  <a:lnTo>
                    <a:pt x="1498" y="4"/>
                  </a:lnTo>
                  <a:lnTo>
                    <a:pt x="1498" y="4"/>
                  </a:lnTo>
                  <a:lnTo>
                    <a:pt x="1500" y="4"/>
                  </a:lnTo>
                  <a:lnTo>
                    <a:pt x="1500" y="4"/>
                  </a:lnTo>
                  <a:lnTo>
                    <a:pt x="1504" y="4"/>
                  </a:lnTo>
                  <a:lnTo>
                    <a:pt x="1504" y="4"/>
                  </a:lnTo>
                  <a:lnTo>
                    <a:pt x="1506" y="4"/>
                  </a:lnTo>
                  <a:lnTo>
                    <a:pt x="1506" y="4"/>
                  </a:lnTo>
                  <a:lnTo>
                    <a:pt x="1512" y="4"/>
                  </a:lnTo>
                  <a:lnTo>
                    <a:pt x="1512" y="4"/>
                  </a:lnTo>
                  <a:lnTo>
                    <a:pt x="1514" y="6"/>
                  </a:lnTo>
                  <a:lnTo>
                    <a:pt x="1514" y="6"/>
                  </a:lnTo>
                  <a:lnTo>
                    <a:pt x="1520" y="4"/>
                  </a:lnTo>
                  <a:lnTo>
                    <a:pt x="1526" y="4"/>
                  </a:lnTo>
                  <a:lnTo>
                    <a:pt x="1526" y="4"/>
                  </a:lnTo>
                  <a:lnTo>
                    <a:pt x="1526" y="4"/>
                  </a:lnTo>
                  <a:lnTo>
                    <a:pt x="1526" y="4"/>
                  </a:lnTo>
                  <a:lnTo>
                    <a:pt x="1526" y="4"/>
                  </a:lnTo>
                  <a:lnTo>
                    <a:pt x="1526" y="4"/>
                  </a:lnTo>
                  <a:lnTo>
                    <a:pt x="1528" y="4"/>
                  </a:lnTo>
                  <a:lnTo>
                    <a:pt x="1528" y="4"/>
                  </a:lnTo>
                  <a:lnTo>
                    <a:pt x="1532" y="4"/>
                  </a:lnTo>
                  <a:lnTo>
                    <a:pt x="1532" y="4"/>
                  </a:lnTo>
                  <a:lnTo>
                    <a:pt x="1540" y="4"/>
                  </a:lnTo>
                  <a:lnTo>
                    <a:pt x="1540" y="4"/>
                  </a:lnTo>
                  <a:lnTo>
                    <a:pt x="1542" y="4"/>
                  </a:lnTo>
                  <a:lnTo>
                    <a:pt x="1542" y="4"/>
                  </a:lnTo>
                  <a:lnTo>
                    <a:pt x="1546" y="4"/>
                  </a:lnTo>
                  <a:lnTo>
                    <a:pt x="1546" y="4"/>
                  </a:lnTo>
                  <a:lnTo>
                    <a:pt x="1546" y="4"/>
                  </a:lnTo>
                  <a:lnTo>
                    <a:pt x="1546" y="4"/>
                  </a:lnTo>
                  <a:lnTo>
                    <a:pt x="1550" y="6"/>
                  </a:lnTo>
                  <a:lnTo>
                    <a:pt x="1550" y="6"/>
                  </a:lnTo>
                  <a:lnTo>
                    <a:pt x="1556" y="4"/>
                  </a:lnTo>
                  <a:lnTo>
                    <a:pt x="1556" y="4"/>
                  </a:lnTo>
                  <a:lnTo>
                    <a:pt x="1560" y="6"/>
                  </a:lnTo>
                  <a:lnTo>
                    <a:pt x="1560" y="6"/>
                  </a:lnTo>
                  <a:lnTo>
                    <a:pt x="1564" y="4"/>
                  </a:lnTo>
                  <a:lnTo>
                    <a:pt x="1568" y="6"/>
                  </a:lnTo>
                  <a:lnTo>
                    <a:pt x="1568" y="6"/>
                  </a:lnTo>
                  <a:lnTo>
                    <a:pt x="1574" y="4"/>
                  </a:lnTo>
                  <a:lnTo>
                    <a:pt x="1574" y="4"/>
                  </a:lnTo>
                  <a:lnTo>
                    <a:pt x="1576" y="6"/>
                  </a:lnTo>
                  <a:lnTo>
                    <a:pt x="1576" y="6"/>
                  </a:lnTo>
                  <a:lnTo>
                    <a:pt x="1578" y="4"/>
                  </a:lnTo>
                  <a:lnTo>
                    <a:pt x="1578" y="4"/>
                  </a:lnTo>
                  <a:lnTo>
                    <a:pt x="1586" y="6"/>
                  </a:lnTo>
                  <a:lnTo>
                    <a:pt x="1586" y="6"/>
                  </a:lnTo>
                  <a:lnTo>
                    <a:pt x="1588" y="6"/>
                  </a:lnTo>
                  <a:lnTo>
                    <a:pt x="1588" y="6"/>
                  </a:lnTo>
                  <a:lnTo>
                    <a:pt x="1592" y="6"/>
                  </a:lnTo>
                  <a:lnTo>
                    <a:pt x="1592" y="6"/>
                  </a:lnTo>
                  <a:lnTo>
                    <a:pt x="1594" y="6"/>
                  </a:lnTo>
                  <a:lnTo>
                    <a:pt x="1594" y="6"/>
                  </a:lnTo>
                  <a:lnTo>
                    <a:pt x="1594" y="6"/>
                  </a:lnTo>
                  <a:lnTo>
                    <a:pt x="1596" y="4"/>
                  </a:lnTo>
                  <a:lnTo>
                    <a:pt x="1596" y="4"/>
                  </a:lnTo>
                  <a:lnTo>
                    <a:pt x="1602" y="4"/>
                  </a:lnTo>
                  <a:lnTo>
                    <a:pt x="1602" y="4"/>
                  </a:lnTo>
                  <a:lnTo>
                    <a:pt x="1608" y="4"/>
                  </a:lnTo>
                  <a:lnTo>
                    <a:pt x="1608" y="4"/>
                  </a:lnTo>
                  <a:lnTo>
                    <a:pt x="1610" y="4"/>
                  </a:lnTo>
                  <a:lnTo>
                    <a:pt x="1610" y="4"/>
                  </a:lnTo>
                  <a:lnTo>
                    <a:pt x="1612" y="4"/>
                  </a:lnTo>
                  <a:lnTo>
                    <a:pt x="1612" y="4"/>
                  </a:lnTo>
                  <a:lnTo>
                    <a:pt x="1616" y="4"/>
                  </a:lnTo>
                  <a:lnTo>
                    <a:pt x="1616" y="4"/>
                  </a:lnTo>
                  <a:lnTo>
                    <a:pt x="1618" y="4"/>
                  </a:lnTo>
                  <a:lnTo>
                    <a:pt x="1618" y="4"/>
                  </a:lnTo>
                  <a:lnTo>
                    <a:pt x="1624" y="4"/>
                  </a:lnTo>
                  <a:lnTo>
                    <a:pt x="1624" y="4"/>
                  </a:lnTo>
                  <a:lnTo>
                    <a:pt x="1626" y="4"/>
                  </a:lnTo>
                  <a:lnTo>
                    <a:pt x="1626" y="4"/>
                  </a:lnTo>
                  <a:lnTo>
                    <a:pt x="1628" y="4"/>
                  </a:lnTo>
                  <a:lnTo>
                    <a:pt x="1628" y="4"/>
                  </a:lnTo>
                  <a:lnTo>
                    <a:pt x="1632" y="4"/>
                  </a:lnTo>
                  <a:lnTo>
                    <a:pt x="1632" y="4"/>
                  </a:lnTo>
                  <a:lnTo>
                    <a:pt x="1634" y="4"/>
                  </a:lnTo>
                  <a:lnTo>
                    <a:pt x="1634" y="4"/>
                  </a:lnTo>
                  <a:lnTo>
                    <a:pt x="1640" y="4"/>
                  </a:lnTo>
                  <a:lnTo>
                    <a:pt x="1640" y="4"/>
                  </a:lnTo>
                  <a:lnTo>
                    <a:pt x="1642" y="4"/>
                  </a:lnTo>
                  <a:lnTo>
                    <a:pt x="1642" y="4"/>
                  </a:lnTo>
                  <a:lnTo>
                    <a:pt x="1644" y="4"/>
                  </a:lnTo>
                  <a:lnTo>
                    <a:pt x="1644" y="4"/>
                  </a:lnTo>
                  <a:lnTo>
                    <a:pt x="1648" y="4"/>
                  </a:lnTo>
                  <a:lnTo>
                    <a:pt x="1648" y="4"/>
                  </a:lnTo>
                  <a:lnTo>
                    <a:pt x="1650" y="4"/>
                  </a:lnTo>
                  <a:lnTo>
                    <a:pt x="1650" y="4"/>
                  </a:lnTo>
                  <a:lnTo>
                    <a:pt x="1656" y="4"/>
                  </a:lnTo>
                  <a:lnTo>
                    <a:pt x="1656" y="4"/>
                  </a:lnTo>
                  <a:lnTo>
                    <a:pt x="1658" y="4"/>
                  </a:lnTo>
                  <a:lnTo>
                    <a:pt x="1658" y="4"/>
                  </a:lnTo>
                  <a:lnTo>
                    <a:pt x="1662" y="4"/>
                  </a:lnTo>
                  <a:lnTo>
                    <a:pt x="1662" y="4"/>
                  </a:lnTo>
                  <a:lnTo>
                    <a:pt x="1664" y="4"/>
                  </a:lnTo>
                  <a:lnTo>
                    <a:pt x="1664" y="4"/>
                  </a:lnTo>
                  <a:lnTo>
                    <a:pt x="1668" y="4"/>
                  </a:lnTo>
                  <a:lnTo>
                    <a:pt x="1668" y="4"/>
                  </a:lnTo>
                  <a:lnTo>
                    <a:pt x="1670" y="4"/>
                  </a:lnTo>
                  <a:lnTo>
                    <a:pt x="1670" y="4"/>
                  </a:lnTo>
                  <a:lnTo>
                    <a:pt x="1680" y="4"/>
                  </a:lnTo>
                  <a:lnTo>
                    <a:pt x="1680" y="4"/>
                  </a:lnTo>
                  <a:lnTo>
                    <a:pt x="1688" y="6"/>
                  </a:lnTo>
                  <a:lnTo>
                    <a:pt x="1688" y="6"/>
                  </a:lnTo>
                  <a:lnTo>
                    <a:pt x="1690" y="6"/>
                  </a:lnTo>
                  <a:lnTo>
                    <a:pt x="1690" y="6"/>
                  </a:lnTo>
                  <a:lnTo>
                    <a:pt x="1692" y="6"/>
                  </a:lnTo>
                  <a:lnTo>
                    <a:pt x="1692" y="6"/>
                  </a:lnTo>
                  <a:lnTo>
                    <a:pt x="1692" y="6"/>
                  </a:lnTo>
                  <a:lnTo>
                    <a:pt x="1692" y="6"/>
                  </a:lnTo>
                  <a:lnTo>
                    <a:pt x="1696" y="4"/>
                  </a:lnTo>
                  <a:lnTo>
                    <a:pt x="1696" y="4"/>
                  </a:lnTo>
                  <a:lnTo>
                    <a:pt x="1702" y="6"/>
                  </a:lnTo>
                  <a:lnTo>
                    <a:pt x="1702" y="6"/>
                  </a:lnTo>
                  <a:lnTo>
                    <a:pt x="1704" y="8"/>
                  </a:lnTo>
                  <a:lnTo>
                    <a:pt x="1704" y="8"/>
                  </a:lnTo>
                  <a:lnTo>
                    <a:pt x="1706" y="6"/>
                  </a:lnTo>
                  <a:lnTo>
                    <a:pt x="1706" y="6"/>
                  </a:lnTo>
                  <a:lnTo>
                    <a:pt x="1706" y="6"/>
                  </a:lnTo>
                  <a:lnTo>
                    <a:pt x="1706" y="6"/>
                  </a:lnTo>
                  <a:lnTo>
                    <a:pt x="1706" y="6"/>
                  </a:lnTo>
                  <a:lnTo>
                    <a:pt x="1710" y="6"/>
                  </a:lnTo>
                  <a:lnTo>
                    <a:pt x="1710" y="6"/>
                  </a:lnTo>
                  <a:lnTo>
                    <a:pt x="1712" y="8"/>
                  </a:lnTo>
                  <a:lnTo>
                    <a:pt x="1712" y="8"/>
                  </a:lnTo>
                  <a:lnTo>
                    <a:pt x="1714" y="6"/>
                  </a:lnTo>
                  <a:lnTo>
                    <a:pt x="1718" y="6"/>
                  </a:lnTo>
                  <a:lnTo>
                    <a:pt x="1718" y="6"/>
                  </a:lnTo>
                  <a:lnTo>
                    <a:pt x="1722" y="6"/>
                  </a:lnTo>
                  <a:lnTo>
                    <a:pt x="1722" y="6"/>
                  </a:lnTo>
                  <a:lnTo>
                    <a:pt x="1724" y="6"/>
                  </a:lnTo>
                  <a:lnTo>
                    <a:pt x="1724" y="6"/>
                  </a:lnTo>
                  <a:lnTo>
                    <a:pt x="1724" y="6"/>
                  </a:lnTo>
                  <a:lnTo>
                    <a:pt x="1724" y="6"/>
                  </a:lnTo>
                  <a:lnTo>
                    <a:pt x="1726" y="8"/>
                  </a:lnTo>
                  <a:lnTo>
                    <a:pt x="1726" y="8"/>
                  </a:lnTo>
                  <a:lnTo>
                    <a:pt x="1728" y="8"/>
                  </a:lnTo>
                  <a:lnTo>
                    <a:pt x="1730" y="6"/>
                  </a:lnTo>
                  <a:lnTo>
                    <a:pt x="1730" y="6"/>
                  </a:lnTo>
                  <a:lnTo>
                    <a:pt x="1734" y="6"/>
                  </a:lnTo>
                  <a:lnTo>
                    <a:pt x="1734" y="6"/>
                  </a:lnTo>
                  <a:lnTo>
                    <a:pt x="1736" y="6"/>
                  </a:lnTo>
                  <a:lnTo>
                    <a:pt x="1736" y="6"/>
                  </a:lnTo>
                  <a:lnTo>
                    <a:pt x="1736" y="6"/>
                  </a:lnTo>
                  <a:lnTo>
                    <a:pt x="1736" y="6"/>
                  </a:lnTo>
                  <a:lnTo>
                    <a:pt x="1738" y="6"/>
                  </a:lnTo>
                  <a:lnTo>
                    <a:pt x="1738" y="6"/>
                  </a:lnTo>
                  <a:lnTo>
                    <a:pt x="1750" y="4"/>
                  </a:lnTo>
                  <a:lnTo>
                    <a:pt x="1750" y="4"/>
                  </a:lnTo>
                  <a:lnTo>
                    <a:pt x="1754" y="6"/>
                  </a:lnTo>
                  <a:lnTo>
                    <a:pt x="1754" y="6"/>
                  </a:lnTo>
                  <a:lnTo>
                    <a:pt x="1754" y="6"/>
                  </a:lnTo>
                  <a:lnTo>
                    <a:pt x="1754" y="6"/>
                  </a:lnTo>
                  <a:lnTo>
                    <a:pt x="1754" y="6"/>
                  </a:lnTo>
                  <a:lnTo>
                    <a:pt x="1758" y="6"/>
                  </a:lnTo>
                  <a:lnTo>
                    <a:pt x="1758" y="6"/>
                  </a:lnTo>
                  <a:lnTo>
                    <a:pt x="1762" y="6"/>
                  </a:lnTo>
                  <a:lnTo>
                    <a:pt x="1762" y="6"/>
                  </a:lnTo>
                  <a:lnTo>
                    <a:pt x="1764" y="4"/>
                  </a:lnTo>
                  <a:lnTo>
                    <a:pt x="1764" y="4"/>
                  </a:lnTo>
                  <a:lnTo>
                    <a:pt x="1766" y="6"/>
                  </a:lnTo>
                  <a:lnTo>
                    <a:pt x="1766" y="6"/>
                  </a:lnTo>
                  <a:lnTo>
                    <a:pt x="1770" y="4"/>
                  </a:lnTo>
                  <a:lnTo>
                    <a:pt x="1770" y="4"/>
                  </a:lnTo>
                  <a:lnTo>
                    <a:pt x="1772" y="6"/>
                  </a:lnTo>
                  <a:lnTo>
                    <a:pt x="1772" y="6"/>
                  </a:lnTo>
                  <a:lnTo>
                    <a:pt x="1776" y="4"/>
                  </a:lnTo>
                  <a:lnTo>
                    <a:pt x="1776" y="4"/>
                  </a:lnTo>
                  <a:lnTo>
                    <a:pt x="1782" y="4"/>
                  </a:lnTo>
                  <a:lnTo>
                    <a:pt x="1782" y="4"/>
                  </a:lnTo>
                  <a:lnTo>
                    <a:pt x="1782" y="4"/>
                  </a:lnTo>
                  <a:lnTo>
                    <a:pt x="1782" y="4"/>
                  </a:lnTo>
                  <a:lnTo>
                    <a:pt x="1784" y="6"/>
                  </a:lnTo>
                  <a:lnTo>
                    <a:pt x="1784" y="6"/>
                  </a:lnTo>
                  <a:lnTo>
                    <a:pt x="1792" y="6"/>
                  </a:lnTo>
                  <a:lnTo>
                    <a:pt x="1792" y="6"/>
                  </a:lnTo>
                  <a:lnTo>
                    <a:pt x="1794" y="4"/>
                  </a:lnTo>
                  <a:lnTo>
                    <a:pt x="1794" y="4"/>
                  </a:lnTo>
                  <a:lnTo>
                    <a:pt x="1798" y="6"/>
                  </a:lnTo>
                  <a:lnTo>
                    <a:pt x="1798" y="6"/>
                  </a:lnTo>
                  <a:lnTo>
                    <a:pt x="1800" y="6"/>
                  </a:lnTo>
                  <a:lnTo>
                    <a:pt x="1800" y="6"/>
                  </a:lnTo>
                  <a:lnTo>
                    <a:pt x="1800" y="6"/>
                  </a:lnTo>
                  <a:lnTo>
                    <a:pt x="1800" y="6"/>
                  </a:lnTo>
                  <a:lnTo>
                    <a:pt x="1802" y="4"/>
                  </a:lnTo>
                  <a:lnTo>
                    <a:pt x="1802" y="4"/>
                  </a:lnTo>
                  <a:lnTo>
                    <a:pt x="1802" y="6"/>
                  </a:lnTo>
                  <a:lnTo>
                    <a:pt x="1802" y="6"/>
                  </a:lnTo>
                  <a:lnTo>
                    <a:pt x="1804" y="4"/>
                  </a:lnTo>
                  <a:lnTo>
                    <a:pt x="1804" y="4"/>
                  </a:lnTo>
                  <a:lnTo>
                    <a:pt x="1804" y="6"/>
                  </a:lnTo>
                  <a:lnTo>
                    <a:pt x="1804" y="6"/>
                  </a:lnTo>
                  <a:lnTo>
                    <a:pt x="1812" y="6"/>
                  </a:lnTo>
                  <a:lnTo>
                    <a:pt x="1812" y="6"/>
                  </a:lnTo>
                  <a:lnTo>
                    <a:pt x="1814" y="6"/>
                  </a:lnTo>
                  <a:lnTo>
                    <a:pt x="1814" y="6"/>
                  </a:lnTo>
                  <a:lnTo>
                    <a:pt x="1816" y="6"/>
                  </a:lnTo>
                  <a:lnTo>
                    <a:pt x="1816" y="6"/>
                  </a:lnTo>
                  <a:lnTo>
                    <a:pt x="1820" y="6"/>
                  </a:lnTo>
                  <a:lnTo>
                    <a:pt x="1820" y="6"/>
                  </a:lnTo>
                  <a:lnTo>
                    <a:pt x="1820" y="6"/>
                  </a:lnTo>
                  <a:lnTo>
                    <a:pt x="1820" y="6"/>
                  </a:lnTo>
                  <a:lnTo>
                    <a:pt x="1824" y="6"/>
                  </a:lnTo>
                  <a:lnTo>
                    <a:pt x="1824" y="6"/>
                  </a:lnTo>
                  <a:lnTo>
                    <a:pt x="1826" y="6"/>
                  </a:lnTo>
                  <a:lnTo>
                    <a:pt x="1826" y="6"/>
                  </a:lnTo>
                  <a:lnTo>
                    <a:pt x="1826" y="8"/>
                  </a:lnTo>
                  <a:lnTo>
                    <a:pt x="1826" y="8"/>
                  </a:lnTo>
                  <a:lnTo>
                    <a:pt x="1828" y="8"/>
                  </a:lnTo>
                  <a:lnTo>
                    <a:pt x="1828" y="8"/>
                  </a:lnTo>
                  <a:lnTo>
                    <a:pt x="1832" y="8"/>
                  </a:lnTo>
                  <a:lnTo>
                    <a:pt x="1832" y="8"/>
                  </a:lnTo>
                  <a:lnTo>
                    <a:pt x="1836" y="6"/>
                  </a:lnTo>
                  <a:lnTo>
                    <a:pt x="1836" y="6"/>
                  </a:lnTo>
                  <a:lnTo>
                    <a:pt x="1838" y="6"/>
                  </a:lnTo>
                  <a:lnTo>
                    <a:pt x="1838" y="6"/>
                  </a:lnTo>
                  <a:lnTo>
                    <a:pt x="1840" y="6"/>
                  </a:lnTo>
                  <a:lnTo>
                    <a:pt x="1840" y="6"/>
                  </a:lnTo>
                  <a:lnTo>
                    <a:pt x="1842" y="6"/>
                  </a:lnTo>
                  <a:lnTo>
                    <a:pt x="1842" y="6"/>
                  </a:lnTo>
                  <a:lnTo>
                    <a:pt x="1842" y="6"/>
                  </a:lnTo>
                  <a:lnTo>
                    <a:pt x="1842" y="6"/>
                  </a:lnTo>
                  <a:lnTo>
                    <a:pt x="1842" y="6"/>
                  </a:lnTo>
                  <a:lnTo>
                    <a:pt x="1842" y="6"/>
                  </a:lnTo>
                  <a:lnTo>
                    <a:pt x="1844" y="6"/>
                  </a:lnTo>
                  <a:lnTo>
                    <a:pt x="1844" y="6"/>
                  </a:lnTo>
                  <a:lnTo>
                    <a:pt x="1846" y="6"/>
                  </a:lnTo>
                  <a:lnTo>
                    <a:pt x="1846" y="6"/>
                  </a:lnTo>
                  <a:lnTo>
                    <a:pt x="1848" y="6"/>
                  </a:lnTo>
                  <a:lnTo>
                    <a:pt x="1848" y="6"/>
                  </a:lnTo>
                  <a:lnTo>
                    <a:pt x="1850" y="6"/>
                  </a:lnTo>
                  <a:lnTo>
                    <a:pt x="1850" y="6"/>
                  </a:lnTo>
                  <a:lnTo>
                    <a:pt x="1850" y="6"/>
                  </a:lnTo>
                  <a:lnTo>
                    <a:pt x="1850" y="6"/>
                  </a:lnTo>
                  <a:lnTo>
                    <a:pt x="1852" y="6"/>
                  </a:lnTo>
                  <a:lnTo>
                    <a:pt x="1852" y="6"/>
                  </a:lnTo>
                  <a:lnTo>
                    <a:pt x="1854" y="6"/>
                  </a:lnTo>
                  <a:lnTo>
                    <a:pt x="1854" y="6"/>
                  </a:lnTo>
                  <a:lnTo>
                    <a:pt x="1858" y="6"/>
                  </a:lnTo>
                  <a:lnTo>
                    <a:pt x="1858" y="6"/>
                  </a:lnTo>
                  <a:lnTo>
                    <a:pt x="1860" y="6"/>
                  </a:lnTo>
                  <a:lnTo>
                    <a:pt x="1864" y="6"/>
                  </a:lnTo>
                  <a:lnTo>
                    <a:pt x="1864" y="6"/>
                  </a:lnTo>
                  <a:lnTo>
                    <a:pt x="1864" y="6"/>
                  </a:lnTo>
                  <a:lnTo>
                    <a:pt x="1864" y="6"/>
                  </a:lnTo>
                  <a:lnTo>
                    <a:pt x="1864" y="6"/>
                  </a:lnTo>
                  <a:lnTo>
                    <a:pt x="1864" y="6"/>
                  </a:lnTo>
                  <a:lnTo>
                    <a:pt x="1866" y="6"/>
                  </a:lnTo>
                  <a:lnTo>
                    <a:pt x="1866" y="6"/>
                  </a:lnTo>
                  <a:lnTo>
                    <a:pt x="1872" y="6"/>
                  </a:lnTo>
                  <a:lnTo>
                    <a:pt x="1872" y="6"/>
                  </a:lnTo>
                  <a:lnTo>
                    <a:pt x="1880" y="6"/>
                  </a:lnTo>
                  <a:lnTo>
                    <a:pt x="1880" y="6"/>
                  </a:lnTo>
                  <a:lnTo>
                    <a:pt x="1882" y="6"/>
                  </a:lnTo>
                  <a:lnTo>
                    <a:pt x="1882" y="6"/>
                  </a:lnTo>
                  <a:lnTo>
                    <a:pt x="1888" y="6"/>
                  </a:lnTo>
                  <a:lnTo>
                    <a:pt x="1888" y="6"/>
                  </a:lnTo>
                  <a:lnTo>
                    <a:pt x="1892" y="6"/>
                  </a:lnTo>
                  <a:lnTo>
                    <a:pt x="1892" y="6"/>
                  </a:lnTo>
                  <a:lnTo>
                    <a:pt x="1896" y="6"/>
                  </a:lnTo>
                  <a:lnTo>
                    <a:pt x="1896" y="6"/>
                  </a:lnTo>
                  <a:lnTo>
                    <a:pt x="1898" y="6"/>
                  </a:lnTo>
                  <a:lnTo>
                    <a:pt x="1898" y="6"/>
                  </a:lnTo>
                  <a:lnTo>
                    <a:pt x="1902" y="4"/>
                  </a:lnTo>
                  <a:lnTo>
                    <a:pt x="1902" y="4"/>
                  </a:lnTo>
                  <a:lnTo>
                    <a:pt x="1906" y="6"/>
                  </a:lnTo>
                  <a:lnTo>
                    <a:pt x="1906" y="6"/>
                  </a:lnTo>
                  <a:lnTo>
                    <a:pt x="1914" y="4"/>
                  </a:lnTo>
                  <a:lnTo>
                    <a:pt x="1914" y="4"/>
                  </a:lnTo>
                  <a:lnTo>
                    <a:pt x="1916" y="6"/>
                  </a:lnTo>
                  <a:lnTo>
                    <a:pt x="1916" y="6"/>
                  </a:lnTo>
                  <a:lnTo>
                    <a:pt x="1916" y="6"/>
                  </a:lnTo>
                  <a:lnTo>
                    <a:pt x="1916" y="6"/>
                  </a:lnTo>
                  <a:lnTo>
                    <a:pt x="1916" y="6"/>
                  </a:lnTo>
                  <a:lnTo>
                    <a:pt x="1916" y="6"/>
                  </a:lnTo>
                  <a:lnTo>
                    <a:pt x="1918" y="8"/>
                  </a:lnTo>
                  <a:lnTo>
                    <a:pt x="1918" y="8"/>
                  </a:lnTo>
                  <a:lnTo>
                    <a:pt x="1922" y="8"/>
                  </a:lnTo>
                  <a:lnTo>
                    <a:pt x="1926" y="8"/>
                  </a:lnTo>
                  <a:lnTo>
                    <a:pt x="1926" y="8"/>
                  </a:lnTo>
                  <a:lnTo>
                    <a:pt x="1928" y="10"/>
                  </a:lnTo>
                  <a:lnTo>
                    <a:pt x="1928" y="10"/>
                  </a:lnTo>
                  <a:lnTo>
                    <a:pt x="1934" y="8"/>
                  </a:lnTo>
                  <a:lnTo>
                    <a:pt x="1934" y="8"/>
                  </a:lnTo>
                  <a:lnTo>
                    <a:pt x="1944" y="6"/>
                  </a:lnTo>
                  <a:lnTo>
                    <a:pt x="1944" y="6"/>
                  </a:lnTo>
                  <a:lnTo>
                    <a:pt x="1946" y="6"/>
                  </a:lnTo>
                  <a:lnTo>
                    <a:pt x="1946" y="6"/>
                  </a:lnTo>
                  <a:lnTo>
                    <a:pt x="1948" y="4"/>
                  </a:lnTo>
                  <a:lnTo>
                    <a:pt x="1948" y="4"/>
                  </a:lnTo>
                  <a:lnTo>
                    <a:pt x="1950" y="4"/>
                  </a:lnTo>
                  <a:lnTo>
                    <a:pt x="1950" y="4"/>
                  </a:lnTo>
                  <a:lnTo>
                    <a:pt x="1950" y="6"/>
                  </a:lnTo>
                  <a:lnTo>
                    <a:pt x="1950" y="6"/>
                  </a:lnTo>
                  <a:lnTo>
                    <a:pt x="1954" y="6"/>
                  </a:lnTo>
                  <a:lnTo>
                    <a:pt x="1954" y="6"/>
                  </a:lnTo>
                  <a:lnTo>
                    <a:pt x="1960" y="6"/>
                  </a:lnTo>
                  <a:lnTo>
                    <a:pt x="1960" y="6"/>
                  </a:lnTo>
                  <a:lnTo>
                    <a:pt x="1960" y="4"/>
                  </a:lnTo>
                  <a:lnTo>
                    <a:pt x="1960" y="4"/>
                  </a:lnTo>
                  <a:lnTo>
                    <a:pt x="1962" y="4"/>
                  </a:lnTo>
                  <a:lnTo>
                    <a:pt x="1962" y="4"/>
                  </a:lnTo>
                  <a:lnTo>
                    <a:pt x="1968" y="6"/>
                  </a:lnTo>
                  <a:lnTo>
                    <a:pt x="1968" y="6"/>
                  </a:lnTo>
                  <a:lnTo>
                    <a:pt x="1970" y="6"/>
                  </a:lnTo>
                  <a:lnTo>
                    <a:pt x="1970" y="6"/>
                  </a:lnTo>
                  <a:lnTo>
                    <a:pt x="1972" y="6"/>
                  </a:lnTo>
                  <a:lnTo>
                    <a:pt x="1972" y="6"/>
                  </a:lnTo>
                  <a:lnTo>
                    <a:pt x="1974" y="6"/>
                  </a:lnTo>
                  <a:lnTo>
                    <a:pt x="1974" y="6"/>
                  </a:lnTo>
                  <a:lnTo>
                    <a:pt x="1974" y="6"/>
                  </a:lnTo>
                  <a:lnTo>
                    <a:pt x="1974" y="6"/>
                  </a:lnTo>
                  <a:lnTo>
                    <a:pt x="1976" y="6"/>
                  </a:lnTo>
                  <a:lnTo>
                    <a:pt x="1976" y="6"/>
                  </a:lnTo>
                  <a:lnTo>
                    <a:pt x="1978" y="8"/>
                  </a:lnTo>
                  <a:lnTo>
                    <a:pt x="1978" y="8"/>
                  </a:lnTo>
                  <a:lnTo>
                    <a:pt x="1978" y="6"/>
                  </a:lnTo>
                  <a:lnTo>
                    <a:pt x="1978" y="6"/>
                  </a:lnTo>
                  <a:lnTo>
                    <a:pt x="1982" y="6"/>
                  </a:lnTo>
                  <a:lnTo>
                    <a:pt x="1982" y="6"/>
                  </a:lnTo>
                  <a:lnTo>
                    <a:pt x="1986" y="8"/>
                  </a:lnTo>
                  <a:lnTo>
                    <a:pt x="1986" y="8"/>
                  </a:lnTo>
                  <a:lnTo>
                    <a:pt x="1994" y="8"/>
                  </a:lnTo>
                  <a:lnTo>
                    <a:pt x="1994" y="8"/>
                  </a:lnTo>
                  <a:lnTo>
                    <a:pt x="1996" y="6"/>
                  </a:lnTo>
                  <a:lnTo>
                    <a:pt x="1996" y="6"/>
                  </a:lnTo>
                  <a:lnTo>
                    <a:pt x="2000" y="6"/>
                  </a:lnTo>
                  <a:lnTo>
                    <a:pt x="2000" y="6"/>
                  </a:lnTo>
                  <a:lnTo>
                    <a:pt x="2002" y="4"/>
                  </a:lnTo>
                  <a:lnTo>
                    <a:pt x="2002" y="4"/>
                  </a:lnTo>
                  <a:lnTo>
                    <a:pt x="2010" y="4"/>
                  </a:lnTo>
                  <a:lnTo>
                    <a:pt x="2010" y="4"/>
                  </a:lnTo>
                  <a:lnTo>
                    <a:pt x="2012" y="4"/>
                  </a:lnTo>
                  <a:lnTo>
                    <a:pt x="2012" y="4"/>
                  </a:lnTo>
                  <a:lnTo>
                    <a:pt x="2014" y="4"/>
                  </a:lnTo>
                  <a:lnTo>
                    <a:pt x="2014" y="4"/>
                  </a:lnTo>
                  <a:lnTo>
                    <a:pt x="2016" y="4"/>
                  </a:lnTo>
                  <a:lnTo>
                    <a:pt x="2016" y="4"/>
                  </a:lnTo>
                  <a:lnTo>
                    <a:pt x="2018" y="4"/>
                  </a:lnTo>
                  <a:lnTo>
                    <a:pt x="2018" y="4"/>
                  </a:lnTo>
                  <a:lnTo>
                    <a:pt x="2032" y="4"/>
                  </a:lnTo>
                  <a:lnTo>
                    <a:pt x="2032" y="4"/>
                  </a:lnTo>
                  <a:lnTo>
                    <a:pt x="2040" y="4"/>
                  </a:lnTo>
                  <a:lnTo>
                    <a:pt x="2040" y="4"/>
                  </a:lnTo>
                  <a:lnTo>
                    <a:pt x="2050" y="4"/>
                  </a:lnTo>
                  <a:lnTo>
                    <a:pt x="2050" y="4"/>
                  </a:lnTo>
                  <a:lnTo>
                    <a:pt x="2052" y="4"/>
                  </a:lnTo>
                  <a:lnTo>
                    <a:pt x="2052" y="4"/>
                  </a:lnTo>
                  <a:lnTo>
                    <a:pt x="2054" y="4"/>
                  </a:lnTo>
                  <a:lnTo>
                    <a:pt x="2054" y="4"/>
                  </a:lnTo>
                  <a:lnTo>
                    <a:pt x="2058" y="4"/>
                  </a:lnTo>
                  <a:lnTo>
                    <a:pt x="2058" y="4"/>
                  </a:lnTo>
                  <a:lnTo>
                    <a:pt x="2060" y="4"/>
                  </a:lnTo>
                  <a:lnTo>
                    <a:pt x="2060" y="4"/>
                  </a:lnTo>
                  <a:lnTo>
                    <a:pt x="2066" y="4"/>
                  </a:lnTo>
                  <a:lnTo>
                    <a:pt x="2066" y="4"/>
                  </a:lnTo>
                  <a:lnTo>
                    <a:pt x="2070" y="4"/>
                  </a:lnTo>
                  <a:lnTo>
                    <a:pt x="2070" y="4"/>
                  </a:lnTo>
                  <a:lnTo>
                    <a:pt x="2072" y="4"/>
                  </a:lnTo>
                  <a:lnTo>
                    <a:pt x="2072" y="4"/>
                  </a:lnTo>
                  <a:lnTo>
                    <a:pt x="2074" y="6"/>
                  </a:lnTo>
                  <a:lnTo>
                    <a:pt x="2074" y="6"/>
                  </a:lnTo>
                  <a:lnTo>
                    <a:pt x="2080" y="4"/>
                  </a:lnTo>
                  <a:lnTo>
                    <a:pt x="2080" y="4"/>
                  </a:lnTo>
                  <a:lnTo>
                    <a:pt x="2086" y="4"/>
                  </a:lnTo>
                  <a:lnTo>
                    <a:pt x="2086" y="4"/>
                  </a:lnTo>
                  <a:lnTo>
                    <a:pt x="2088" y="4"/>
                  </a:lnTo>
                  <a:lnTo>
                    <a:pt x="2088" y="4"/>
                  </a:lnTo>
                  <a:lnTo>
                    <a:pt x="2092" y="4"/>
                  </a:lnTo>
                  <a:lnTo>
                    <a:pt x="2092" y="4"/>
                  </a:lnTo>
                  <a:lnTo>
                    <a:pt x="2096" y="4"/>
                  </a:lnTo>
                  <a:lnTo>
                    <a:pt x="2096" y="4"/>
                  </a:lnTo>
                  <a:lnTo>
                    <a:pt x="2098" y="4"/>
                  </a:lnTo>
                  <a:lnTo>
                    <a:pt x="2098" y="4"/>
                  </a:lnTo>
                  <a:lnTo>
                    <a:pt x="2106" y="4"/>
                  </a:lnTo>
                  <a:lnTo>
                    <a:pt x="2106" y="4"/>
                  </a:lnTo>
                  <a:lnTo>
                    <a:pt x="2108" y="4"/>
                  </a:lnTo>
                  <a:lnTo>
                    <a:pt x="2108" y="4"/>
                  </a:lnTo>
                  <a:lnTo>
                    <a:pt x="2114" y="4"/>
                  </a:lnTo>
                  <a:lnTo>
                    <a:pt x="2114" y="4"/>
                  </a:lnTo>
                  <a:lnTo>
                    <a:pt x="2116" y="4"/>
                  </a:lnTo>
                  <a:lnTo>
                    <a:pt x="2116" y="4"/>
                  </a:lnTo>
                  <a:lnTo>
                    <a:pt x="2118" y="4"/>
                  </a:lnTo>
                  <a:lnTo>
                    <a:pt x="2118" y="4"/>
                  </a:lnTo>
                  <a:lnTo>
                    <a:pt x="2124" y="4"/>
                  </a:lnTo>
                  <a:lnTo>
                    <a:pt x="2124" y="4"/>
                  </a:lnTo>
                  <a:lnTo>
                    <a:pt x="2132" y="4"/>
                  </a:lnTo>
                  <a:lnTo>
                    <a:pt x="2132" y="4"/>
                  </a:lnTo>
                  <a:lnTo>
                    <a:pt x="2134" y="4"/>
                  </a:lnTo>
                  <a:lnTo>
                    <a:pt x="2134" y="4"/>
                  </a:lnTo>
                  <a:lnTo>
                    <a:pt x="2134" y="4"/>
                  </a:lnTo>
                  <a:lnTo>
                    <a:pt x="2134" y="4"/>
                  </a:lnTo>
                  <a:lnTo>
                    <a:pt x="2134" y="4"/>
                  </a:lnTo>
                  <a:lnTo>
                    <a:pt x="2134" y="4"/>
                  </a:lnTo>
                  <a:lnTo>
                    <a:pt x="2136" y="4"/>
                  </a:lnTo>
                  <a:lnTo>
                    <a:pt x="2136" y="4"/>
                  </a:lnTo>
                  <a:lnTo>
                    <a:pt x="2136" y="4"/>
                  </a:lnTo>
                  <a:lnTo>
                    <a:pt x="2136" y="4"/>
                  </a:lnTo>
                  <a:lnTo>
                    <a:pt x="2138" y="4"/>
                  </a:lnTo>
                  <a:lnTo>
                    <a:pt x="2138" y="4"/>
                  </a:lnTo>
                  <a:lnTo>
                    <a:pt x="2144" y="4"/>
                  </a:lnTo>
                  <a:lnTo>
                    <a:pt x="2144" y="4"/>
                  </a:lnTo>
                  <a:lnTo>
                    <a:pt x="2146" y="4"/>
                  </a:lnTo>
                  <a:lnTo>
                    <a:pt x="2146" y="4"/>
                  </a:lnTo>
                  <a:lnTo>
                    <a:pt x="2150" y="4"/>
                  </a:lnTo>
                  <a:lnTo>
                    <a:pt x="2150" y="4"/>
                  </a:lnTo>
                  <a:lnTo>
                    <a:pt x="2154" y="4"/>
                  </a:lnTo>
                  <a:lnTo>
                    <a:pt x="2154" y="4"/>
                  </a:lnTo>
                  <a:lnTo>
                    <a:pt x="2156" y="4"/>
                  </a:lnTo>
                  <a:lnTo>
                    <a:pt x="2156" y="4"/>
                  </a:lnTo>
                  <a:lnTo>
                    <a:pt x="2160" y="4"/>
                  </a:lnTo>
                  <a:lnTo>
                    <a:pt x="2160" y="4"/>
                  </a:lnTo>
                  <a:lnTo>
                    <a:pt x="2164" y="4"/>
                  </a:lnTo>
                  <a:lnTo>
                    <a:pt x="2164" y="4"/>
                  </a:lnTo>
                  <a:lnTo>
                    <a:pt x="2168" y="4"/>
                  </a:lnTo>
                  <a:lnTo>
                    <a:pt x="2168" y="4"/>
                  </a:lnTo>
                  <a:lnTo>
                    <a:pt x="2168" y="4"/>
                  </a:lnTo>
                  <a:lnTo>
                    <a:pt x="2168" y="4"/>
                  </a:lnTo>
                  <a:lnTo>
                    <a:pt x="2172" y="4"/>
                  </a:lnTo>
                  <a:lnTo>
                    <a:pt x="2172" y="4"/>
                  </a:lnTo>
                  <a:lnTo>
                    <a:pt x="2178" y="4"/>
                  </a:lnTo>
                  <a:lnTo>
                    <a:pt x="2178" y="4"/>
                  </a:lnTo>
                  <a:lnTo>
                    <a:pt x="2182" y="4"/>
                  </a:lnTo>
                  <a:lnTo>
                    <a:pt x="2182" y="4"/>
                  </a:lnTo>
                  <a:lnTo>
                    <a:pt x="2184" y="4"/>
                  </a:lnTo>
                  <a:lnTo>
                    <a:pt x="2184" y="4"/>
                  </a:lnTo>
                  <a:lnTo>
                    <a:pt x="2184" y="4"/>
                  </a:lnTo>
                  <a:lnTo>
                    <a:pt x="2184" y="4"/>
                  </a:lnTo>
                  <a:lnTo>
                    <a:pt x="2186" y="4"/>
                  </a:lnTo>
                  <a:lnTo>
                    <a:pt x="2186" y="4"/>
                  </a:lnTo>
                  <a:lnTo>
                    <a:pt x="2186" y="4"/>
                  </a:lnTo>
                  <a:lnTo>
                    <a:pt x="2186" y="4"/>
                  </a:lnTo>
                  <a:lnTo>
                    <a:pt x="2186" y="4"/>
                  </a:lnTo>
                  <a:lnTo>
                    <a:pt x="2186" y="4"/>
                  </a:lnTo>
                  <a:lnTo>
                    <a:pt x="2188" y="4"/>
                  </a:lnTo>
                  <a:lnTo>
                    <a:pt x="2188" y="4"/>
                  </a:lnTo>
                  <a:lnTo>
                    <a:pt x="2190" y="2"/>
                  </a:lnTo>
                  <a:lnTo>
                    <a:pt x="2190" y="2"/>
                  </a:lnTo>
                  <a:lnTo>
                    <a:pt x="2196" y="2"/>
                  </a:lnTo>
                  <a:lnTo>
                    <a:pt x="2196" y="2"/>
                  </a:lnTo>
                  <a:lnTo>
                    <a:pt x="2202" y="4"/>
                  </a:lnTo>
                  <a:lnTo>
                    <a:pt x="2202" y="4"/>
                  </a:lnTo>
                  <a:lnTo>
                    <a:pt x="2202" y="4"/>
                  </a:lnTo>
                  <a:lnTo>
                    <a:pt x="2202" y="4"/>
                  </a:lnTo>
                  <a:lnTo>
                    <a:pt x="2206" y="4"/>
                  </a:lnTo>
                  <a:lnTo>
                    <a:pt x="2206" y="4"/>
                  </a:lnTo>
                  <a:lnTo>
                    <a:pt x="2210" y="4"/>
                  </a:lnTo>
                  <a:lnTo>
                    <a:pt x="2210" y="4"/>
                  </a:lnTo>
                  <a:lnTo>
                    <a:pt x="2216" y="2"/>
                  </a:lnTo>
                  <a:lnTo>
                    <a:pt x="2216" y="2"/>
                  </a:lnTo>
                  <a:lnTo>
                    <a:pt x="2224" y="4"/>
                  </a:lnTo>
                  <a:lnTo>
                    <a:pt x="2224" y="4"/>
                  </a:lnTo>
                  <a:lnTo>
                    <a:pt x="2226" y="2"/>
                  </a:lnTo>
                  <a:lnTo>
                    <a:pt x="2230" y="4"/>
                  </a:lnTo>
                  <a:lnTo>
                    <a:pt x="2230" y="4"/>
                  </a:lnTo>
                  <a:lnTo>
                    <a:pt x="2232" y="2"/>
                  </a:lnTo>
                  <a:lnTo>
                    <a:pt x="2232" y="2"/>
                  </a:lnTo>
                  <a:lnTo>
                    <a:pt x="2234" y="2"/>
                  </a:lnTo>
                  <a:lnTo>
                    <a:pt x="2234" y="2"/>
                  </a:lnTo>
                  <a:lnTo>
                    <a:pt x="2236" y="2"/>
                  </a:lnTo>
                  <a:lnTo>
                    <a:pt x="2236" y="2"/>
                  </a:lnTo>
                  <a:lnTo>
                    <a:pt x="2240" y="2"/>
                  </a:lnTo>
                  <a:lnTo>
                    <a:pt x="2240" y="2"/>
                  </a:lnTo>
                  <a:lnTo>
                    <a:pt x="2248" y="4"/>
                  </a:lnTo>
                  <a:lnTo>
                    <a:pt x="2248" y="4"/>
                  </a:lnTo>
                  <a:lnTo>
                    <a:pt x="2252" y="2"/>
                  </a:lnTo>
                  <a:lnTo>
                    <a:pt x="2252" y="2"/>
                  </a:lnTo>
                  <a:lnTo>
                    <a:pt x="2256" y="4"/>
                  </a:lnTo>
                  <a:lnTo>
                    <a:pt x="2256" y="4"/>
                  </a:lnTo>
                  <a:lnTo>
                    <a:pt x="2256" y="4"/>
                  </a:lnTo>
                  <a:lnTo>
                    <a:pt x="2256" y="4"/>
                  </a:lnTo>
                  <a:lnTo>
                    <a:pt x="2256" y="4"/>
                  </a:lnTo>
                  <a:lnTo>
                    <a:pt x="2256" y="4"/>
                  </a:lnTo>
                  <a:lnTo>
                    <a:pt x="2258" y="4"/>
                  </a:lnTo>
                  <a:lnTo>
                    <a:pt x="2258" y="4"/>
                  </a:lnTo>
                  <a:lnTo>
                    <a:pt x="2258" y="4"/>
                  </a:lnTo>
                  <a:lnTo>
                    <a:pt x="2258" y="4"/>
                  </a:lnTo>
                  <a:lnTo>
                    <a:pt x="2262" y="2"/>
                  </a:lnTo>
                  <a:lnTo>
                    <a:pt x="2262" y="2"/>
                  </a:lnTo>
                  <a:lnTo>
                    <a:pt x="2266" y="4"/>
                  </a:lnTo>
                  <a:lnTo>
                    <a:pt x="2266" y="4"/>
                  </a:lnTo>
                  <a:lnTo>
                    <a:pt x="2270" y="4"/>
                  </a:lnTo>
                  <a:lnTo>
                    <a:pt x="2270" y="4"/>
                  </a:lnTo>
                  <a:lnTo>
                    <a:pt x="2270" y="4"/>
                  </a:lnTo>
                  <a:lnTo>
                    <a:pt x="2270" y="4"/>
                  </a:lnTo>
                  <a:lnTo>
                    <a:pt x="2274" y="4"/>
                  </a:lnTo>
                  <a:lnTo>
                    <a:pt x="2274" y="4"/>
                  </a:lnTo>
                  <a:lnTo>
                    <a:pt x="2274" y="4"/>
                  </a:lnTo>
                  <a:lnTo>
                    <a:pt x="2274" y="4"/>
                  </a:lnTo>
                  <a:lnTo>
                    <a:pt x="2282" y="4"/>
                  </a:lnTo>
                  <a:lnTo>
                    <a:pt x="2282" y="4"/>
                  </a:lnTo>
                  <a:lnTo>
                    <a:pt x="2286" y="4"/>
                  </a:lnTo>
                  <a:lnTo>
                    <a:pt x="2286" y="4"/>
                  </a:lnTo>
                  <a:lnTo>
                    <a:pt x="2288" y="4"/>
                  </a:lnTo>
                  <a:lnTo>
                    <a:pt x="2288" y="4"/>
                  </a:lnTo>
                  <a:lnTo>
                    <a:pt x="2288" y="4"/>
                  </a:lnTo>
                  <a:lnTo>
                    <a:pt x="2288" y="4"/>
                  </a:lnTo>
                  <a:lnTo>
                    <a:pt x="2290" y="4"/>
                  </a:lnTo>
                  <a:lnTo>
                    <a:pt x="2290" y="4"/>
                  </a:lnTo>
                  <a:lnTo>
                    <a:pt x="2292" y="2"/>
                  </a:lnTo>
                  <a:lnTo>
                    <a:pt x="2296" y="2"/>
                  </a:lnTo>
                  <a:lnTo>
                    <a:pt x="2296" y="2"/>
                  </a:lnTo>
                  <a:lnTo>
                    <a:pt x="2298" y="2"/>
                  </a:lnTo>
                  <a:lnTo>
                    <a:pt x="2298" y="2"/>
                  </a:lnTo>
                  <a:lnTo>
                    <a:pt x="2304" y="2"/>
                  </a:lnTo>
                  <a:lnTo>
                    <a:pt x="2304" y="2"/>
                  </a:lnTo>
                  <a:lnTo>
                    <a:pt x="2306" y="2"/>
                  </a:lnTo>
                  <a:lnTo>
                    <a:pt x="2306" y="2"/>
                  </a:lnTo>
                  <a:lnTo>
                    <a:pt x="2310" y="2"/>
                  </a:lnTo>
                  <a:lnTo>
                    <a:pt x="2310" y="2"/>
                  </a:lnTo>
                  <a:lnTo>
                    <a:pt x="2310" y="2"/>
                  </a:lnTo>
                  <a:lnTo>
                    <a:pt x="2310" y="2"/>
                  </a:lnTo>
                  <a:lnTo>
                    <a:pt x="2316" y="2"/>
                  </a:lnTo>
                  <a:lnTo>
                    <a:pt x="2316" y="2"/>
                  </a:lnTo>
                  <a:lnTo>
                    <a:pt x="2318" y="2"/>
                  </a:lnTo>
                  <a:lnTo>
                    <a:pt x="2318" y="2"/>
                  </a:lnTo>
                  <a:lnTo>
                    <a:pt x="2322" y="2"/>
                  </a:lnTo>
                  <a:lnTo>
                    <a:pt x="2322" y="2"/>
                  </a:lnTo>
                  <a:lnTo>
                    <a:pt x="2328" y="2"/>
                  </a:lnTo>
                  <a:lnTo>
                    <a:pt x="2328" y="2"/>
                  </a:lnTo>
                  <a:lnTo>
                    <a:pt x="2330" y="2"/>
                  </a:lnTo>
                  <a:lnTo>
                    <a:pt x="2330" y="2"/>
                  </a:lnTo>
                  <a:lnTo>
                    <a:pt x="2334" y="4"/>
                  </a:lnTo>
                  <a:lnTo>
                    <a:pt x="2334" y="4"/>
                  </a:lnTo>
                  <a:lnTo>
                    <a:pt x="2338" y="2"/>
                  </a:lnTo>
                  <a:lnTo>
                    <a:pt x="2338" y="2"/>
                  </a:lnTo>
                  <a:lnTo>
                    <a:pt x="2344" y="2"/>
                  </a:lnTo>
                  <a:lnTo>
                    <a:pt x="2344" y="2"/>
                  </a:lnTo>
                  <a:lnTo>
                    <a:pt x="2348" y="2"/>
                  </a:lnTo>
                  <a:lnTo>
                    <a:pt x="2348" y="2"/>
                  </a:lnTo>
                  <a:lnTo>
                    <a:pt x="2348" y="2"/>
                  </a:lnTo>
                  <a:lnTo>
                    <a:pt x="2348" y="2"/>
                  </a:lnTo>
                  <a:lnTo>
                    <a:pt x="2350" y="2"/>
                  </a:lnTo>
                  <a:lnTo>
                    <a:pt x="2350" y="2"/>
                  </a:lnTo>
                  <a:lnTo>
                    <a:pt x="2350" y="2"/>
                  </a:lnTo>
                  <a:lnTo>
                    <a:pt x="2350" y="2"/>
                  </a:lnTo>
                  <a:lnTo>
                    <a:pt x="2352" y="2"/>
                  </a:lnTo>
                  <a:lnTo>
                    <a:pt x="2352" y="2"/>
                  </a:lnTo>
                  <a:lnTo>
                    <a:pt x="2352" y="2"/>
                  </a:lnTo>
                  <a:lnTo>
                    <a:pt x="2352" y="2"/>
                  </a:lnTo>
                  <a:lnTo>
                    <a:pt x="2354" y="2"/>
                  </a:lnTo>
                  <a:lnTo>
                    <a:pt x="2354" y="2"/>
                  </a:lnTo>
                  <a:lnTo>
                    <a:pt x="2354" y="2"/>
                  </a:lnTo>
                  <a:lnTo>
                    <a:pt x="2354" y="2"/>
                  </a:lnTo>
                  <a:lnTo>
                    <a:pt x="2364" y="2"/>
                  </a:lnTo>
                  <a:lnTo>
                    <a:pt x="2364" y="2"/>
                  </a:lnTo>
                  <a:lnTo>
                    <a:pt x="2366" y="4"/>
                  </a:lnTo>
                  <a:lnTo>
                    <a:pt x="2366" y="4"/>
                  </a:lnTo>
                  <a:lnTo>
                    <a:pt x="2368" y="4"/>
                  </a:lnTo>
                  <a:lnTo>
                    <a:pt x="2368" y="4"/>
                  </a:lnTo>
                  <a:lnTo>
                    <a:pt x="2370" y="4"/>
                  </a:lnTo>
                  <a:lnTo>
                    <a:pt x="2370" y="4"/>
                  </a:lnTo>
                  <a:lnTo>
                    <a:pt x="2374" y="2"/>
                  </a:lnTo>
                  <a:lnTo>
                    <a:pt x="2374" y="2"/>
                  </a:lnTo>
                  <a:lnTo>
                    <a:pt x="2378" y="2"/>
                  </a:lnTo>
                  <a:lnTo>
                    <a:pt x="2378" y="2"/>
                  </a:lnTo>
                  <a:lnTo>
                    <a:pt x="2380" y="2"/>
                  </a:lnTo>
                  <a:lnTo>
                    <a:pt x="2384" y="2"/>
                  </a:lnTo>
                  <a:lnTo>
                    <a:pt x="2384" y="2"/>
                  </a:lnTo>
                  <a:lnTo>
                    <a:pt x="2388" y="2"/>
                  </a:lnTo>
                  <a:lnTo>
                    <a:pt x="2390" y="2"/>
                  </a:lnTo>
                  <a:lnTo>
                    <a:pt x="2390" y="2"/>
                  </a:lnTo>
                  <a:lnTo>
                    <a:pt x="2398" y="2"/>
                  </a:lnTo>
                  <a:lnTo>
                    <a:pt x="2398" y="2"/>
                  </a:lnTo>
                  <a:lnTo>
                    <a:pt x="2402" y="2"/>
                  </a:lnTo>
                  <a:lnTo>
                    <a:pt x="2402" y="2"/>
                  </a:lnTo>
                  <a:lnTo>
                    <a:pt x="2404" y="2"/>
                  </a:lnTo>
                  <a:lnTo>
                    <a:pt x="2404" y="2"/>
                  </a:lnTo>
                  <a:lnTo>
                    <a:pt x="2406" y="2"/>
                  </a:lnTo>
                  <a:lnTo>
                    <a:pt x="2406" y="2"/>
                  </a:lnTo>
                  <a:lnTo>
                    <a:pt x="2410" y="2"/>
                  </a:lnTo>
                  <a:lnTo>
                    <a:pt x="2410" y="2"/>
                  </a:lnTo>
                  <a:lnTo>
                    <a:pt x="2414" y="4"/>
                  </a:lnTo>
                  <a:lnTo>
                    <a:pt x="2414" y="4"/>
                  </a:lnTo>
                  <a:lnTo>
                    <a:pt x="2414" y="6"/>
                  </a:lnTo>
                  <a:lnTo>
                    <a:pt x="2414" y="6"/>
                  </a:lnTo>
                  <a:lnTo>
                    <a:pt x="2418" y="4"/>
                  </a:lnTo>
                  <a:lnTo>
                    <a:pt x="2418" y="4"/>
                  </a:lnTo>
                  <a:lnTo>
                    <a:pt x="2420" y="6"/>
                  </a:lnTo>
                  <a:lnTo>
                    <a:pt x="2420" y="6"/>
                  </a:lnTo>
                  <a:lnTo>
                    <a:pt x="2420" y="6"/>
                  </a:lnTo>
                  <a:lnTo>
                    <a:pt x="2420" y="6"/>
                  </a:lnTo>
                  <a:lnTo>
                    <a:pt x="2422" y="6"/>
                  </a:lnTo>
                  <a:lnTo>
                    <a:pt x="2422" y="6"/>
                  </a:lnTo>
                  <a:lnTo>
                    <a:pt x="2428" y="6"/>
                  </a:lnTo>
                  <a:lnTo>
                    <a:pt x="2434" y="6"/>
                  </a:lnTo>
                  <a:lnTo>
                    <a:pt x="2434" y="6"/>
                  </a:lnTo>
                  <a:lnTo>
                    <a:pt x="2436" y="6"/>
                  </a:lnTo>
                  <a:lnTo>
                    <a:pt x="2436" y="6"/>
                  </a:lnTo>
                  <a:lnTo>
                    <a:pt x="2442" y="4"/>
                  </a:lnTo>
                  <a:lnTo>
                    <a:pt x="2442" y="4"/>
                  </a:lnTo>
                  <a:lnTo>
                    <a:pt x="2446" y="4"/>
                  </a:lnTo>
                  <a:lnTo>
                    <a:pt x="2446" y="4"/>
                  </a:lnTo>
                  <a:lnTo>
                    <a:pt x="2446" y="4"/>
                  </a:lnTo>
                  <a:lnTo>
                    <a:pt x="2446" y="4"/>
                  </a:lnTo>
                  <a:lnTo>
                    <a:pt x="2448" y="4"/>
                  </a:lnTo>
                  <a:lnTo>
                    <a:pt x="2448" y="4"/>
                  </a:lnTo>
                  <a:lnTo>
                    <a:pt x="2448" y="4"/>
                  </a:lnTo>
                  <a:lnTo>
                    <a:pt x="2448" y="4"/>
                  </a:lnTo>
                  <a:lnTo>
                    <a:pt x="2450" y="4"/>
                  </a:lnTo>
                  <a:lnTo>
                    <a:pt x="2450" y="4"/>
                  </a:lnTo>
                  <a:lnTo>
                    <a:pt x="2452" y="4"/>
                  </a:lnTo>
                  <a:lnTo>
                    <a:pt x="2452" y="4"/>
                  </a:lnTo>
                  <a:lnTo>
                    <a:pt x="2460" y="4"/>
                  </a:lnTo>
                  <a:lnTo>
                    <a:pt x="2460" y="4"/>
                  </a:lnTo>
                  <a:lnTo>
                    <a:pt x="2462" y="6"/>
                  </a:lnTo>
                  <a:lnTo>
                    <a:pt x="2462" y="6"/>
                  </a:lnTo>
                  <a:lnTo>
                    <a:pt x="2462" y="6"/>
                  </a:lnTo>
                  <a:lnTo>
                    <a:pt x="2464" y="8"/>
                  </a:lnTo>
                  <a:lnTo>
                    <a:pt x="2464" y="8"/>
                  </a:lnTo>
                  <a:lnTo>
                    <a:pt x="2468" y="6"/>
                  </a:lnTo>
                  <a:lnTo>
                    <a:pt x="2474" y="4"/>
                  </a:lnTo>
                  <a:lnTo>
                    <a:pt x="2474" y="4"/>
                  </a:lnTo>
                  <a:lnTo>
                    <a:pt x="2476" y="6"/>
                  </a:lnTo>
                  <a:lnTo>
                    <a:pt x="2476" y="6"/>
                  </a:lnTo>
                  <a:lnTo>
                    <a:pt x="2478" y="6"/>
                  </a:lnTo>
                  <a:lnTo>
                    <a:pt x="2478" y="6"/>
                  </a:lnTo>
                  <a:lnTo>
                    <a:pt x="2484" y="6"/>
                  </a:lnTo>
                  <a:lnTo>
                    <a:pt x="2484" y="6"/>
                  </a:lnTo>
                  <a:lnTo>
                    <a:pt x="2486" y="6"/>
                  </a:lnTo>
                  <a:lnTo>
                    <a:pt x="2486" y="6"/>
                  </a:lnTo>
                  <a:lnTo>
                    <a:pt x="2492" y="6"/>
                  </a:lnTo>
                  <a:lnTo>
                    <a:pt x="2492" y="6"/>
                  </a:lnTo>
                  <a:lnTo>
                    <a:pt x="2498" y="6"/>
                  </a:lnTo>
                  <a:lnTo>
                    <a:pt x="2498" y="6"/>
                  </a:lnTo>
                  <a:lnTo>
                    <a:pt x="2498" y="6"/>
                  </a:lnTo>
                  <a:lnTo>
                    <a:pt x="2498" y="6"/>
                  </a:lnTo>
                  <a:lnTo>
                    <a:pt x="2498" y="6"/>
                  </a:lnTo>
                  <a:lnTo>
                    <a:pt x="2498" y="6"/>
                  </a:lnTo>
                  <a:lnTo>
                    <a:pt x="2498" y="6"/>
                  </a:lnTo>
                  <a:lnTo>
                    <a:pt x="2498" y="6"/>
                  </a:lnTo>
                  <a:lnTo>
                    <a:pt x="2498" y="6"/>
                  </a:lnTo>
                  <a:lnTo>
                    <a:pt x="2498" y="6"/>
                  </a:lnTo>
                  <a:lnTo>
                    <a:pt x="2502" y="6"/>
                  </a:lnTo>
                  <a:lnTo>
                    <a:pt x="2502" y="6"/>
                  </a:lnTo>
                  <a:lnTo>
                    <a:pt x="2504" y="6"/>
                  </a:lnTo>
                  <a:lnTo>
                    <a:pt x="2504" y="6"/>
                  </a:lnTo>
                  <a:lnTo>
                    <a:pt x="2506" y="6"/>
                  </a:lnTo>
                  <a:lnTo>
                    <a:pt x="2506" y="6"/>
                  </a:lnTo>
                  <a:lnTo>
                    <a:pt x="2506" y="6"/>
                  </a:lnTo>
                  <a:lnTo>
                    <a:pt x="2506" y="6"/>
                  </a:lnTo>
                  <a:lnTo>
                    <a:pt x="2506" y="4"/>
                  </a:lnTo>
                  <a:lnTo>
                    <a:pt x="2506" y="4"/>
                  </a:lnTo>
                  <a:lnTo>
                    <a:pt x="2518" y="4"/>
                  </a:lnTo>
                  <a:lnTo>
                    <a:pt x="2518" y="4"/>
                  </a:lnTo>
                  <a:lnTo>
                    <a:pt x="2522" y="6"/>
                  </a:lnTo>
                  <a:lnTo>
                    <a:pt x="2522" y="6"/>
                  </a:lnTo>
                  <a:lnTo>
                    <a:pt x="2524" y="6"/>
                  </a:lnTo>
                  <a:lnTo>
                    <a:pt x="2524" y="6"/>
                  </a:lnTo>
                  <a:lnTo>
                    <a:pt x="2526" y="4"/>
                  </a:lnTo>
                  <a:lnTo>
                    <a:pt x="2526" y="4"/>
                  </a:lnTo>
                  <a:lnTo>
                    <a:pt x="2526" y="4"/>
                  </a:lnTo>
                  <a:lnTo>
                    <a:pt x="2526" y="4"/>
                  </a:lnTo>
                  <a:lnTo>
                    <a:pt x="2526" y="4"/>
                  </a:lnTo>
                  <a:lnTo>
                    <a:pt x="2526" y="4"/>
                  </a:lnTo>
                  <a:lnTo>
                    <a:pt x="2528" y="4"/>
                  </a:lnTo>
                  <a:lnTo>
                    <a:pt x="2528" y="4"/>
                  </a:lnTo>
                  <a:lnTo>
                    <a:pt x="2536" y="4"/>
                  </a:lnTo>
                  <a:lnTo>
                    <a:pt x="2536" y="4"/>
                  </a:lnTo>
                  <a:lnTo>
                    <a:pt x="2538" y="4"/>
                  </a:lnTo>
                  <a:lnTo>
                    <a:pt x="2538" y="4"/>
                  </a:lnTo>
                  <a:lnTo>
                    <a:pt x="2540" y="4"/>
                  </a:lnTo>
                  <a:lnTo>
                    <a:pt x="2540" y="4"/>
                  </a:lnTo>
                  <a:lnTo>
                    <a:pt x="2540" y="4"/>
                  </a:lnTo>
                  <a:lnTo>
                    <a:pt x="2540" y="4"/>
                  </a:lnTo>
                  <a:lnTo>
                    <a:pt x="2542" y="4"/>
                  </a:lnTo>
                  <a:lnTo>
                    <a:pt x="2542" y="4"/>
                  </a:lnTo>
                  <a:lnTo>
                    <a:pt x="2542" y="4"/>
                  </a:lnTo>
                  <a:lnTo>
                    <a:pt x="2542" y="4"/>
                  </a:lnTo>
                  <a:lnTo>
                    <a:pt x="2546" y="4"/>
                  </a:lnTo>
                  <a:lnTo>
                    <a:pt x="2546" y="4"/>
                  </a:lnTo>
                  <a:lnTo>
                    <a:pt x="2546" y="4"/>
                  </a:lnTo>
                  <a:lnTo>
                    <a:pt x="2546" y="4"/>
                  </a:lnTo>
                  <a:lnTo>
                    <a:pt x="2552" y="6"/>
                  </a:lnTo>
                  <a:lnTo>
                    <a:pt x="2552" y="6"/>
                  </a:lnTo>
                  <a:lnTo>
                    <a:pt x="2554" y="6"/>
                  </a:lnTo>
                  <a:lnTo>
                    <a:pt x="2554" y="6"/>
                  </a:lnTo>
                  <a:lnTo>
                    <a:pt x="2554" y="6"/>
                  </a:lnTo>
                  <a:lnTo>
                    <a:pt x="2554" y="6"/>
                  </a:lnTo>
                  <a:lnTo>
                    <a:pt x="2556" y="6"/>
                  </a:lnTo>
                  <a:lnTo>
                    <a:pt x="2556" y="6"/>
                  </a:lnTo>
                  <a:lnTo>
                    <a:pt x="2556" y="6"/>
                  </a:lnTo>
                  <a:lnTo>
                    <a:pt x="2556" y="6"/>
                  </a:lnTo>
                  <a:lnTo>
                    <a:pt x="2560" y="6"/>
                  </a:lnTo>
                  <a:lnTo>
                    <a:pt x="2560" y="6"/>
                  </a:lnTo>
                  <a:lnTo>
                    <a:pt x="2562" y="6"/>
                  </a:lnTo>
                  <a:lnTo>
                    <a:pt x="2562" y="6"/>
                  </a:lnTo>
                  <a:lnTo>
                    <a:pt x="2564" y="6"/>
                  </a:lnTo>
                  <a:lnTo>
                    <a:pt x="2564" y="6"/>
                  </a:lnTo>
                  <a:lnTo>
                    <a:pt x="2564" y="6"/>
                  </a:lnTo>
                  <a:lnTo>
                    <a:pt x="2564" y="6"/>
                  </a:lnTo>
                  <a:lnTo>
                    <a:pt x="2564" y="6"/>
                  </a:lnTo>
                  <a:lnTo>
                    <a:pt x="2564" y="6"/>
                  </a:lnTo>
                  <a:lnTo>
                    <a:pt x="2564" y="6"/>
                  </a:lnTo>
                  <a:lnTo>
                    <a:pt x="2564" y="6"/>
                  </a:lnTo>
                  <a:lnTo>
                    <a:pt x="2570" y="4"/>
                  </a:lnTo>
                  <a:lnTo>
                    <a:pt x="2570" y="4"/>
                  </a:lnTo>
                  <a:lnTo>
                    <a:pt x="2574" y="4"/>
                  </a:lnTo>
                  <a:lnTo>
                    <a:pt x="2574" y="4"/>
                  </a:lnTo>
                  <a:lnTo>
                    <a:pt x="2576" y="4"/>
                  </a:lnTo>
                  <a:lnTo>
                    <a:pt x="2576" y="4"/>
                  </a:lnTo>
                  <a:lnTo>
                    <a:pt x="2576" y="4"/>
                  </a:lnTo>
                  <a:lnTo>
                    <a:pt x="2576" y="4"/>
                  </a:lnTo>
                  <a:lnTo>
                    <a:pt x="2576" y="4"/>
                  </a:lnTo>
                  <a:lnTo>
                    <a:pt x="2576" y="4"/>
                  </a:lnTo>
                  <a:lnTo>
                    <a:pt x="2576" y="4"/>
                  </a:lnTo>
                  <a:lnTo>
                    <a:pt x="2576" y="4"/>
                  </a:lnTo>
                  <a:lnTo>
                    <a:pt x="2578" y="4"/>
                  </a:lnTo>
                  <a:lnTo>
                    <a:pt x="2578" y="4"/>
                  </a:lnTo>
                  <a:lnTo>
                    <a:pt x="2580" y="4"/>
                  </a:lnTo>
                  <a:lnTo>
                    <a:pt x="2580" y="4"/>
                  </a:lnTo>
                  <a:lnTo>
                    <a:pt x="2580" y="6"/>
                  </a:lnTo>
                  <a:lnTo>
                    <a:pt x="2580" y="6"/>
                  </a:lnTo>
                  <a:lnTo>
                    <a:pt x="2584" y="6"/>
                  </a:lnTo>
                  <a:lnTo>
                    <a:pt x="2584" y="6"/>
                  </a:lnTo>
                  <a:lnTo>
                    <a:pt x="2590" y="6"/>
                  </a:lnTo>
                  <a:lnTo>
                    <a:pt x="2590" y="6"/>
                  </a:lnTo>
                  <a:lnTo>
                    <a:pt x="2592" y="6"/>
                  </a:lnTo>
                  <a:lnTo>
                    <a:pt x="2592" y="6"/>
                  </a:lnTo>
                  <a:lnTo>
                    <a:pt x="2592" y="6"/>
                  </a:lnTo>
                  <a:lnTo>
                    <a:pt x="2592" y="6"/>
                  </a:lnTo>
                  <a:lnTo>
                    <a:pt x="2594" y="6"/>
                  </a:lnTo>
                  <a:lnTo>
                    <a:pt x="2594" y="6"/>
                  </a:lnTo>
                  <a:lnTo>
                    <a:pt x="2596" y="6"/>
                  </a:lnTo>
                  <a:lnTo>
                    <a:pt x="2596" y="6"/>
                  </a:lnTo>
                  <a:lnTo>
                    <a:pt x="2600" y="6"/>
                  </a:lnTo>
                  <a:lnTo>
                    <a:pt x="2600" y="6"/>
                  </a:lnTo>
                  <a:lnTo>
                    <a:pt x="2608" y="6"/>
                  </a:lnTo>
                  <a:lnTo>
                    <a:pt x="2608" y="6"/>
                  </a:lnTo>
                  <a:lnTo>
                    <a:pt x="2612" y="6"/>
                  </a:lnTo>
                  <a:lnTo>
                    <a:pt x="2612" y="6"/>
                  </a:lnTo>
                  <a:lnTo>
                    <a:pt x="2614" y="6"/>
                  </a:lnTo>
                  <a:lnTo>
                    <a:pt x="2614" y="6"/>
                  </a:lnTo>
                  <a:lnTo>
                    <a:pt x="2614" y="6"/>
                  </a:lnTo>
                  <a:lnTo>
                    <a:pt x="2614" y="6"/>
                  </a:lnTo>
                  <a:lnTo>
                    <a:pt x="2618" y="8"/>
                  </a:lnTo>
                  <a:lnTo>
                    <a:pt x="2618" y="8"/>
                  </a:lnTo>
                  <a:lnTo>
                    <a:pt x="2620" y="8"/>
                  </a:lnTo>
                  <a:lnTo>
                    <a:pt x="2620" y="8"/>
                  </a:lnTo>
                  <a:lnTo>
                    <a:pt x="2626" y="6"/>
                  </a:lnTo>
                  <a:lnTo>
                    <a:pt x="2626" y="6"/>
                  </a:lnTo>
                  <a:lnTo>
                    <a:pt x="2628" y="8"/>
                  </a:lnTo>
                  <a:lnTo>
                    <a:pt x="2628" y="8"/>
                  </a:lnTo>
                  <a:lnTo>
                    <a:pt x="2630" y="8"/>
                  </a:lnTo>
                  <a:lnTo>
                    <a:pt x="2630" y="8"/>
                  </a:lnTo>
                  <a:lnTo>
                    <a:pt x="2632" y="10"/>
                  </a:lnTo>
                  <a:lnTo>
                    <a:pt x="2632" y="10"/>
                  </a:lnTo>
                  <a:lnTo>
                    <a:pt x="2632" y="10"/>
                  </a:lnTo>
                  <a:lnTo>
                    <a:pt x="2636" y="12"/>
                  </a:lnTo>
                  <a:lnTo>
                    <a:pt x="2636" y="12"/>
                  </a:lnTo>
                  <a:lnTo>
                    <a:pt x="2636" y="10"/>
                  </a:lnTo>
                  <a:lnTo>
                    <a:pt x="2636" y="10"/>
                  </a:lnTo>
                  <a:lnTo>
                    <a:pt x="2640" y="8"/>
                  </a:lnTo>
                  <a:lnTo>
                    <a:pt x="2640" y="8"/>
                  </a:lnTo>
                  <a:lnTo>
                    <a:pt x="2640" y="8"/>
                  </a:lnTo>
                  <a:lnTo>
                    <a:pt x="2640" y="8"/>
                  </a:lnTo>
                  <a:lnTo>
                    <a:pt x="2642" y="8"/>
                  </a:lnTo>
                  <a:lnTo>
                    <a:pt x="2642" y="8"/>
                  </a:lnTo>
                  <a:lnTo>
                    <a:pt x="2642" y="8"/>
                  </a:lnTo>
                  <a:lnTo>
                    <a:pt x="2642" y="8"/>
                  </a:lnTo>
                  <a:lnTo>
                    <a:pt x="2644" y="6"/>
                  </a:lnTo>
                  <a:lnTo>
                    <a:pt x="2644" y="6"/>
                  </a:lnTo>
                  <a:lnTo>
                    <a:pt x="2646" y="6"/>
                  </a:lnTo>
                  <a:lnTo>
                    <a:pt x="2646" y="6"/>
                  </a:lnTo>
                  <a:lnTo>
                    <a:pt x="2654" y="6"/>
                  </a:lnTo>
                  <a:lnTo>
                    <a:pt x="2654" y="6"/>
                  </a:lnTo>
                  <a:lnTo>
                    <a:pt x="2654" y="6"/>
                  </a:lnTo>
                  <a:lnTo>
                    <a:pt x="2654" y="6"/>
                  </a:lnTo>
                  <a:lnTo>
                    <a:pt x="2656" y="6"/>
                  </a:lnTo>
                  <a:lnTo>
                    <a:pt x="2656" y="6"/>
                  </a:lnTo>
                  <a:lnTo>
                    <a:pt x="2656" y="6"/>
                  </a:lnTo>
                  <a:lnTo>
                    <a:pt x="2656" y="6"/>
                  </a:lnTo>
                  <a:lnTo>
                    <a:pt x="2658" y="6"/>
                  </a:lnTo>
                  <a:lnTo>
                    <a:pt x="2658" y="6"/>
                  </a:lnTo>
                  <a:lnTo>
                    <a:pt x="2658" y="6"/>
                  </a:lnTo>
                  <a:lnTo>
                    <a:pt x="2658" y="6"/>
                  </a:lnTo>
                  <a:lnTo>
                    <a:pt x="2660" y="6"/>
                  </a:lnTo>
                  <a:lnTo>
                    <a:pt x="2660" y="6"/>
                  </a:lnTo>
                  <a:lnTo>
                    <a:pt x="2662" y="6"/>
                  </a:lnTo>
                  <a:lnTo>
                    <a:pt x="2662" y="6"/>
                  </a:lnTo>
                  <a:lnTo>
                    <a:pt x="2664" y="4"/>
                  </a:lnTo>
                  <a:lnTo>
                    <a:pt x="2664" y="4"/>
                  </a:lnTo>
                  <a:lnTo>
                    <a:pt x="2666" y="4"/>
                  </a:lnTo>
                  <a:lnTo>
                    <a:pt x="2666" y="4"/>
                  </a:lnTo>
                  <a:lnTo>
                    <a:pt x="2666" y="4"/>
                  </a:lnTo>
                  <a:lnTo>
                    <a:pt x="2666" y="4"/>
                  </a:lnTo>
                  <a:lnTo>
                    <a:pt x="2666" y="4"/>
                  </a:lnTo>
                  <a:lnTo>
                    <a:pt x="2666" y="4"/>
                  </a:lnTo>
                  <a:lnTo>
                    <a:pt x="2674" y="4"/>
                  </a:lnTo>
                  <a:lnTo>
                    <a:pt x="2674" y="4"/>
                  </a:lnTo>
                  <a:lnTo>
                    <a:pt x="2678" y="4"/>
                  </a:lnTo>
                  <a:lnTo>
                    <a:pt x="2678" y="4"/>
                  </a:lnTo>
                  <a:lnTo>
                    <a:pt x="2682" y="4"/>
                  </a:lnTo>
                  <a:lnTo>
                    <a:pt x="2682" y="4"/>
                  </a:lnTo>
                  <a:lnTo>
                    <a:pt x="2684" y="4"/>
                  </a:lnTo>
                  <a:lnTo>
                    <a:pt x="2684" y="4"/>
                  </a:lnTo>
                  <a:lnTo>
                    <a:pt x="2684" y="4"/>
                  </a:lnTo>
                  <a:lnTo>
                    <a:pt x="2684" y="4"/>
                  </a:lnTo>
                  <a:lnTo>
                    <a:pt x="2684" y="4"/>
                  </a:lnTo>
                  <a:lnTo>
                    <a:pt x="2684" y="4"/>
                  </a:lnTo>
                  <a:lnTo>
                    <a:pt x="2684" y="4"/>
                  </a:lnTo>
                  <a:lnTo>
                    <a:pt x="2684" y="4"/>
                  </a:lnTo>
                  <a:lnTo>
                    <a:pt x="2684" y="4"/>
                  </a:lnTo>
                  <a:lnTo>
                    <a:pt x="2684" y="4"/>
                  </a:lnTo>
                  <a:lnTo>
                    <a:pt x="2690" y="2"/>
                  </a:lnTo>
                  <a:lnTo>
                    <a:pt x="2690" y="2"/>
                  </a:lnTo>
                  <a:lnTo>
                    <a:pt x="2692" y="4"/>
                  </a:lnTo>
                  <a:lnTo>
                    <a:pt x="2692" y="4"/>
                  </a:lnTo>
                  <a:lnTo>
                    <a:pt x="2698" y="4"/>
                  </a:lnTo>
                  <a:lnTo>
                    <a:pt x="2698" y="4"/>
                  </a:lnTo>
                  <a:lnTo>
                    <a:pt x="2704" y="4"/>
                  </a:lnTo>
                  <a:lnTo>
                    <a:pt x="2704" y="4"/>
                  </a:lnTo>
                  <a:lnTo>
                    <a:pt x="2712" y="2"/>
                  </a:lnTo>
                  <a:lnTo>
                    <a:pt x="2712" y="2"/>
                  </a:lnTo>
                  <a:lnTo>
                    <a:pt x="2714" y="4"/>
                  </a:lnTo>
                  <a:lnTo>
                    <a:pt x="2714" y="4"/>
                  </a:lnTo>
                  <a:lnTo>
                    <a:pt x="2718" y="4"/>
                  </a:lnTo>
                  <a:lnTo>
                    <a:pt x="2718" y="4"/>
                  </a:lnTo>
                  <a:lnTo>
                    <a:pt x="2724" y="4"/>
                  </a:lnTo>
                  <a:lnTo>
                    <a:pt x="2724" y="4"/>
                  </a:lnTo>
                  <a:lnTo>
                    <a:pt x="2728" y="4"/>
                  </a:lnTo>
                  <a:lnTo>
                    <a:pt x="2728" y="4"/>
                  </a:lnTo>
                  <a:lnTo>
                    <a:pt x="2732" y="4"/>
                  </a:lnTo>
                  <a:lnTo>
                    <a:pt x="2732" y="4"/>
                  </a:lnTo>
                  <a:lnTo>
                    <a:pt x="2740" y="4"/>
                  </a:lnTo>
                  <a:lnTo>
                    <a:pt x="2740" y="4"/>
                  </a:lnTo>
                  <a:lnTo>
                    <a:pt x="2742" y="4"/>
                  </a:lnTo>
                  <a:lnTo>
                    <a:pt x="2742" y="4"/>
                  </a:lnTo>
                  <a:lnTo>
                    <a:pt x="2748" y="2"/>
                  </a:lnTo>
                  <a:lnTo>
                    <a:pt x="2748" y="2"/>
                  </a:lnTo>
                  <a:lnTo>
                    <a:pt x="2754" y="2"/>
                  </a:lnTo>
                  <a:lnTo>
                    <a:pt x="2754" y="2"/>
                  </a:lnTo>
                  <a:lnTo>
                    <a:pt x="2758" y="4"/>
                  </a:lnTo>
                  <a:lnTo>
                    <a:pt x="2758" y="4"/>
                  </a:lnTo>
                  <a:lnTo>
                    <a:pt x="2766" y="2"/>
                  </a:lnTo>
                  <a:lnTo>
                    <a:pt x="2766" y="2"/>
                  </a:lnTo>
                  <a:lnTo>
                    <a:pt x="2766" y="2"/>
                  </a:lnTo>
                  <a:lnTo>
                    <a:pt x="2766" y="2"/>
                  </a:lnTo>
                  <a:lnTo>
                    <a:pt x="2766" y="2"/>
                  </a:lnTo>
                  <a:lnTo>
                    <a:pt x="2768" y="2"/>
                  </a:lnTo>
                  <a:lnTo>
                    <a:pt x="2768" y="2"/>
                  </a:lnTo>
                  <a:lnTo>
                    <a:pt x="2772" y="4"/>
                  </a:lnTo>
                  <a:lnTo>
                    <a:pt x="2772" y="4"/>
                  </a:lnTo>
                  <a:lnTo>
                    <a:pt x="2774" y="4"/>
                  </a:lnTo>
                  <a:lnTo>
                    <a:pt x="2774" y="4"/>
                  </a:lnTo>
                  <a:lnTo>
                    <a:pt x="2774" y="4"/>
                  </a:lnTo>
                  <a:lnTo>
                    <a:pt x="2774" y="4"/>
                  </a:lnTo>
                  <a:lnTo>
                    <a:pt x="2774" y="4"/>
                  </a:lnTo>
                  <a:lnTo>
                    <a:pt x="2774" y="4"/>
                  </a:lnTo>
                  <a:lnTo>
                    <a:pt x="2776" y="4"/>
                  </a:lnTo>
                  <a:lnTo>
                    <a:pt x="2776" y="4"/>
                  </a:lnTo>
                  <a:lnTo>
                    <a:pt x="2782" y="2"/>
                  </a:lnTo>
                  <a:lnTo>
                    <a:pt x="2782" y="2"/>
                  </a:lnTo>
                  <a:lnTo>
                    <a:pt x="2784" y="4"/>
                  </a:lnTo>
                  <a:lnTo>
                    <a:pt x="2784" y="4"/>
                  </a:lnTo>
                  <a:lnTo>
                    <a:pt x="2784" y="2"/>
                  </a:lnTo>
                  <a:lnTo>
                    <a:pt x="2784" y="2"/>
                  </a:lnTo>
                  <a:lnTo>
                    <a:pt x="2796" y="4"/>
                  </a:lnTo>
                  <a:lnTo>
                    <a:pt x="2796" y="4"/>
                  </a:lnTo>
                  <a:lnTo>
                    <a:pt x="2802" y="4"/>
                  </a:lnTo>
                  <a:lnTo>
                    <a:pt x="2802" y="4"/>
                  </a:lnTo>
                  <a:lnTo>
                    <a:pt x="2806" y="4"/>
                  </a:lnTo>
                  <a:lnTo>
                    <a:pt x="2806" y="4"/>
                  </a:lnTo>
                  <a:lnTo>
                    <a:pt x="2810" y="4"/>
                  </a:lnTo>
                  <a:lnTo>
                    <a:pt x="2810" y="4"/>
                  </a:lnTo>
                  <a:lnTo>
                    <a:pt x="2814" y="4"/>
                  </a:lnTo>
                  <a:lnTo>
                    <a:pt x="2814" y="4"/>
                  </a:lnTo>
                  <a:lnTo>
                    <a:pt x="2818" y="4"/>
                  </a:lnTo>
                  <a:lnTo>
                    <a:pt x="2818" y="4"/>
                  </a:lnTo>
                  <a:lnTo>
                    <a:pt x="2824" y="4"/>
                  </a:lnTo>
                  <a:lnTo>
                    <a:pt x="2824" y="4"/>
                  </a:lnTo>
                  <a:lnTo>
                    <a:pt x="2824" y="4"/>
                  </a:lnTo>
                  <a:lnTo>
                    <a:pt x="2824" y="4"/>
                  </a:lnTo>
                  <a:lnTo>
                    <a:pt x="2826" y="4"/>
                  </a:lnTo>
                  <a:lnTo>
                    <a:pt x="2826" y="4"/>
                  </a:lnTo>
                  <a:lnTo>
                    <a:pt x="2828" y="4"/>
                  </a:lnTo>
                  <a:lnTo>
                    <a:pt x="2828" y="4"/>
                  </a:lnTo>
                  <a:lnTo>
                    <a:pt x="2830" y="4"/>
                  </a:lnTo>
                  <a:lnTo>
                    <a:pt x="2830" y="4"/>
                  </a:lnTo>
                  <a:lnTo>
                    <a:pt x="2838" y="4"/>
                  </a:lnTo>
                  <a:lnTo>
                    <a:pt x="2838" y="4"/>
                  </a:lnTo>
                  <a:lnTo>
                    <a:pt x="2838" y="4"/>
                  </a:lnTo>
                  <a:lnTo>
                    <a:pt x="2838" y="4"/>
                  </a:lnTo>
                  <a:lnTo>
                    <a:pt x="2842" y="6"/>
                  </a:lnTo>
                  <a:lnTo>
                    <a:pt x="2842" y="6"/>
                  </a:lnTo>
                  <a:lnTo>
                    <a:pt x="2848" y="6"/>
                  </a:lnTo>
                  <a:lnTo>
                    <a:pt x="2852" y="6"/>
                  </a:lnTo>
                  <a:lnTo>
                    <a:pt x="2852" y="6"/>
                  </a:lnTo>
                  <a:lnTo>
                    <a:pt x="2854" y="4"/>
                  </a:lnTo>
                  <a:lnTo>
                    <a:pt x="2854" y="4"/>
                  </a:lnTo>
                  <a:lnTo>
                    <a:pt x="2856" y="4"/>
                  </a:lnTo>
                  <a:lnTo>
                    <a:pt x="2856" y="4"/>
                  </a:lnTo>
                  <a:lnTo>
                    <a:pt x="2858" y="6"/>
                  </a:lnTo>
                  <a:lnTo>
                    <a:pt x="2858" y="6"/>
                  </a:lnTo>
                  <a:lnTo>
                    <a:pt x="2858" y="4"/>
                  </a:lnTo>
                  <a:lnTo>
                    <a:pt x="2858" y="4"/>
                  </a:lnTo>
                  <a:lnTo>
                    <a:pt x="2858" y="6"/>
                  </a:lnTo>
                  <a:lnTo>
                    <a:pt x="2858" y="6"/>
                  </a:lnTo>
                  <a:lnTo>
                    <a:pt x="2858" y="4"/>
                  </a:lnTo>
                  <a:lnTo>
                    <a:pt x="2858" y="4"/>
                  </a:lnTo>
                  <a:lnTo>
                    <a:pt x="2858" y="6"/>
                  </a:lnTo>
                  <a:lnTo>
                    <a:pt x="2858" y="6"/>
                  </a:lnTo>
                  <a:lnTo>
                    <a:pt x="2858" y="4"/>
                  </a:lnTo>
                  <a:lnTo>
                    <a:pt x="2858" y="4"/>
                  </a:lnTo>
                  <a:lnTo>
                    <a:pt x="2862" y="6"/>
                  </a:lnTo>
                  <a:lnTo>
                    <a:pt x="2862" y="6"/>
                  </a:lnTo>
                  <a:lnTo>
                    <a:pt x="2864" y="6"/>
                  </a:lnTo>
                  <a:lnTo>
                    <a:pt x="2864" y="6"/>
                  </a:lnTo>
                  <a:lnTo>
                    <a:pt x="2864" y="6"/>
                  </a:lnTo>
                  <a:lnTo>
                    <a:pt x="2864" y="6"/>
                  </a:lnTo>
                  <a:lnTo>
                    <a:pt x="2866" y="6"/>
                  </a:lnTo>
                  <a:lnTo>
                    <a:pt x="2866" y="6"/>
                  </a:lnTo>
                  <a:lnTo>
                    <a:pt x="2868" y="6"/>
                  </a:lnTo>
                  <a:lnTo>
                    <a:pt x="2868" y="6"/>
                  </a:lnTo>
                  <a:lnTo>
                    <a:pt x="2870" y="6"/>
                  </a:lnTo>
                  <a:lnTo>
                    <a:pt x="2870" y="6"/>
                  </a:lnTo>
                  <a:lnTo>
                    <a:pt x="2870" y="6"/>
                  </a:lnTo>
                  <a:lnTo>
                    <a:pt x="2870" y="6"/>
                  </a:lnTo>
                  <a:lnTo>
                    <a:pt x="2870" y="6"/>
                  </a:lnTo>
                  <a:lnTo>
                    <a:pt x="2870" y="6"/>
                  </a:lnTo>
                  <a:lnTo>
                    <a:pt x="2874" y="6"/>
                  </a:lnTo>
                  <a:lnTo>
                    <a:pt x="2874" y="6"/>
                  </a:lnTo>
                  <a:lnTo>
                    <a:pt x="2876" y="6"/>
                  </a:lnTo>
                  <a:lnTo>
                    <a:pt x="2876" y="6"/>
                  </a:lnTo>
                  <a:lnTo>
                    <a:pt x="2876" y="6"/>
                  </a:lnTo>
                  <a:lnTo>
                    <a:pt x="2876" y="6"/>
                  </a:lnTo>
                  <a:lnTo>
                    <a:pt x="2880" y="6"/>
                  </a:lnTo>
                  <a:lnTo>
                    <a:pt x="2880" y="6"/>
                  </a:lnTo>
                  <a:lnTo>
                    <a:pt x="2882" y="6"/>
                  </a:lnTo>
                  <a:lnTo>
                    <a:pt x="2882" y="6"/>
                  </a:lnTo>
                  <a:lnTo>
                    <a:pt x="2888" y="6"/>
                  </a:lnTo>
                  <a:lnTo>
                    <a:pt x="2888" y="6"/>
                  </a:lnTo>
                  <a:lnTo>
                    <a:pt x="2892" y="6"/>
                  </a:lnTo>
                  <a:lnTo>
                    <a:pt x="2892" y="6"/>
                  </a:lnTo>
                  <a:lnTo>
                    <a:pt x="2898" y="6"/>
                  </a:lnTo>
                  <a:lnTo>
                    <a:pt x="2898" y="6"/>
                  </a:lnTo>
                  <a:lnTo>
                    <a:pt x="2906" y="6"/>
                  </a:lnTo>
                  <a:lnTo>
                    <a:pt x="2914" y="6"/>
                  </a:lnTo>
                  <a:lnTo>
                    <a:pt x="2914" y="6"/>
                  </a:lnTo>
                  <a:lnTo>
                    <a:pt x="2914" y="6"/>
                  </a:lnTo>
                  <a:lnTo>
                    <a:pt x="2914" y="6"/>
                  </a:lnTo>
                  <a:lnTo>
                    <a:pt x="2914" y="6"/>
                  </a:lnTo>
                  <a:lnTo>
                    <a:pt x="2914" y="6"/>
                  </a:lnTo>
                  <a:lnTo>
                    <a:pt x="2916" y="6"/>
                  </a:lnTo>
                  <a:lnTo>
                    <a:pt x="2916" y="6"/>
                  </a:lnTo>
                  <a:lnTo>
                    <a:pt x="2916" y="6"/>
                  </a:lnTo>
                  <a:lnTo>
                    <a:pt x="2916" y="6"/>
                  </a:lnTo>
                  <a:lnTo>
                    <a:pt x="2918" y="6"/>
                  </a:lnTo>
                  <a:lnTo>
                    <a:pt x="2918" y="6"/>
                  </a:lnTo>
                  <a:lnTo>
                    <a:pt x="2918" y="6"/>
                  </a:lnTo>
                  <a:lnTo>
                    <a:pt x="2918" y="6"/>
                  </a:lnTo>
                  <a:lnTo>
                    <a:pt x="2918" y="6"/>
                  </a:lnTo>
                  <a:lnTo>
                    <a:pt x="2918" y="6"/>
                  </a:lnTo>
                  <a:lnTo>
                    <a:pt x="2920" y="6"/>
                  </a:lnTo>
                  <a:lnTo>
                    <a:pt x="2920" y="6"/>
                  </a:lnTo>
                  <a:lnTo>
                    <a:pt x="2928" y="6"/>
                  </a:lnTo>
                  <a:lnTo>
                    <a:pt x="2928" y="6"/>
                  </a:lnTo>
                  <a:lnTo>
                    <a:pt x="2932" y="6"/>
                  </a:lnTo>
                  <a:lnTo>
                    <a:pt x="2932" y="6"/>
                  </a:lnTo>
                  <a:lnTo>
                    <a:pt x="2932" y="6"/>
                  </a:lnTo>
                  <a:lnTo>
                    <a:pt x="2932" y="6"/>
                  </a:lnTo>
                  <a:lnTo>
                    <a:pt x="2932" y="6"/>
                  </a:lnTo>
                  <a:lnTo>
                    <a:pt x="2932" y="6"/>
                  </a:lnTo>
                  <a:lnTo>
                    <a:pt x="2932" y="6"/>
                  </a:lnTo>
                  <a:lnTo>
                    <a:pt x="2932" y="6"/>
                  </a:lnTo>
                  <a:lnTo>
                    <a:pt x="2932" y="6"/>
                  </a:lnTo>
                  <a:lnTo>
                    <a:pt x="2932" y="6"/>
                  </a:lnTo>
                  <a:lnTo>
                    <a:pt x="2934" y="6"/>
                  </a:lnTo>
                  <a:lnTo>
                    <a:pt x="2934" y="6"/>
                  </a:lnTo>
                  <a:lnTo>
                    <a:pt x="2934" y="6"/>
                  </a:lnTo>
                  <a:lnTo>
                    <a:pt x="2934" y="6"/>
                  </a:lnTo>
                  <a:lnTo>
                    <a:pt x="2934" y="6"/>
                  </a:lnTo>
                  <a:lnTo>
                    <a:pt x="2934" y="6"/>
                  </a:lnTo>
                  <a:lnTo>
                    <a:pt x="2938" y="6"/>
                  </a:lnTo>
                  <a:lnTo>
                    <a:pt x="2938" y="6"/>
                  </a:lnTo>
                  <a:lnTo>
                    <a:pt x="2944" y="4"/>
                  </a:lnTo>
                  <a:lnTo>
                    <a:pt x="2944" y="4"/>
                  </a:lnTo>
                  <a:lnTo>
                    <a:pt x="2948" y="6"/>
                  </a:lnTo>
                  <a:lnTo>
                    <a:pt x="2948" y="6"/>
                  </a:lnTo>
                  <a:lnTo>
                    <a:pt x="2950" y="6"/>
                  </a:lnTo>
                  <a:lnTo>
                    <a:pt x="2950" y="6"/>
                  </a:lnTo>
                  <a:lnTo>
                    <a:pt x="2956" y="6"/>
                  </a:lnTo>
                  <a:lnTo>
                    <a:pt x="2956" y="6"/>
                  </a:lnTo>
                  <a:lnTo>
                    <a:pt x="2960" y="6"/>
                  </a:lnTo>
                  <a:lnTo>
                    <a:pt x="2960" y="6"/>
                  </a:lnTo>
                  <a:lnTo>
                    <a:pt x="2960" y="6"/>
                  </a:lnTo>
                  <a:lnTo>
                    <a:pt x="2960" y="6"/>
                  </a:lnTo>
                  <a:lnTo>
                    <a:pt x="2962" y="6"/>
                  </a:lnTo>
                  <a:lnTo>
                    <a:pt x="2962" y="6"/>
                  </a:lnTo>
                  <a:lnTo>
                    <a:pt x="2968" y="8"/>
                  </a:lnTo>
                  <a:lnTo>
                    <a:pt x="2974" y="8"/>
                  </a:lnTo>
                  <a:lnTo>
                    <a:pt x="2974" y="8"/>
                  </a:lnTo>
                  <a:lnTo>
                    <a:pt x="2980" y="8"/>
                  </a:lnTo>
                  <a:lnTo>
                    <a:pt x="2980" y="8"/>
                  </a:lnTo>
                  <a:lnTo>
                    <a:pt x="2984" y="8"/>
                  </a:lnTo>
                  <a:lnTo>
                    <a:pt x="2984" y="8"/>
                  </a:lnTo>
                  <a:lnTo>
                    <a:pt x="2988" y="8"/>
                  </a:lnTo>
                  <a:lnTo>
                    <a:pt x="2988" y="8"/>
                  </a:lnTo>
                  <a:lnTo>
                    <a:pt x="2994" y="8"/>
                  </a:lnTo>
                  <a:lnTo>
                    <a:pt x="2994" y="8"/>
                  </a:lnTo>
                  <a:lnTo>
                    <a:pt x="2998" y="6"/>
                  </a:lnTo>
                  <a:lnTo>
                    <a:pt x="2998" y="6"/>
                  </a:lnTo>
                  <a:lnTo>
                    <a:pt x="3000" y="6"/>
                  </a:lnTo>
                  <a:lnTo>
                    <a:pt x="3000" y="6"/>
                  </a:lnTo>
                  <a:lnTo>
                    <a:pt x="3002" y="6"/>
                  </a:lnTo>
                  <a:lnTo>
                    <a:pt x="3002" y="6"/>
                  </a:lnTo>
                  <a:lnTo>
                    <a:pt x="3008" y="6"/>
                  </a:lnTo>
                  <a:lnTo>
                    <a:pt x="3008" y="6"/>
                  </a:lnTo>
                  <a:lnTo>
                    <a:pt x="3012" y="6"/>
                  </a:lnTo>
                  <a:lnTo>
                    <a:pt x="3012" y="6"/>
                  </a:lnTo>
                  <a:lnTo>
                    <a:pt x="3012" y="6"/>
                  </a:lnTo>
                  <a:lnTo>
                    <a:pt x="3012" y="6"/>
                  </a:lnTo>
                  <a:lnTo>
                    <a:pt x="3014" y="6"/>
                  </a:lnTo>
                  <a:lnTo>
                    <a:pt x="3014" y="6"/>
                  </a:lnTo>
                  <a:lnTo>
                    <a:pt x="3020" y="6"/>
                  </a:lnTo>
                  <a:lnTo>
                    <a:pt x="3020" y="6"/>
                  </a:lnTo>
                  <a:lnTo>
                    <a:pt x="3020" y="6"/>
                  </a:lnTo>
                  <a:lnTo>
                    <a:pt x="3020" y="6"/>
                  </a:lnTo>
                  <a:lnTo>
                    <a:pt x="3022" y="8"/>
                  </a:lnTo>
                  <a:lnTo>
                    <a:pt x="3022" y="8"/>
                  </a:lnTo>
                  <a:lnTo>
                    <a:pt x="3024" y="8"/>
                  </a:lnTo>
                  <a:lnTo>
                    <a:pt x="3024" y="8"/>
                  </a:lnTo>
                  <a:lnTo>
                    <a:pt x="3024" y="6"/>
                  </a:lnTo>
                  <a:lnTo>
                    <a:pt x="3024" y="6"/>
                  </a:lnTo>
                  <a:lnTo>
                    <a:pt x="3028" y="8"/>
                  </a:lnTo>
                  <a:lnTo>
                    <a:pt x="3032" y="8"/>
                  </a:lnTo>
                  <a:lnTo>
                    <a:pt x="3032" y="8"/>
                  </a:lnTo>
                  <a:lnTo>
                    <a:pt x="3036" y="8"/>
                  </a:lnTo>
                  <a:lnTo>
                    <a:pt x="3036" y="8"/>
                  </a:lnTo>
                  <a:lnTo>
                    <a:pt x="3040" y="8"/>
                  </a:lnTo>
                  <a:lnTo>
                    <a:pt x="3040" y="8"/>
                  </a:lnTo>
                  <a:lnTo>
                    <a:pt x="3044" y="8"/>
                  </a:lnTo>
                  <a:lnTo>
                    <a:pt x="3044" y="8"/>
                  </a:lnTo>
                  <a:lnTo>
                    <a:pt x="3048" y="8"/>
                  </a:lnTo>
                  <a:lnTo>
                    <a:pt x="3048" y="8"/>
                  </a:lnTo>
                  <a:lnTo>
                    <a:pt x="3048" y="8"/>
                  </a:lnTo>
                  <a:lnTo>
                    <a:pt x="3048" y="8"/>
                  </a:lnTo>
                  <a:lnTo>
                    <a:pt x="3048" y="8"/>
                  </a:lnTo>
                  <a:lnTo>
                    <a:pt x="3048" y="8"/>
                  </a:lnTo>
                  <a:lnTo>
                    <a:pt x="3052" y="8"/>
                  </a:lnTo>
                  <a:lnTo>
                    <a:pt x="3052" y="8"/>
                  </a:lnTo>
                  <a:lnTo>
                    <a:pt x="3052" y="8"/>
                  </a:lnTo>
                  <a:lnTo>
                    <a:pt x="3052" y="8"/>
                  </a:lnTo>
                  <a:lnTo>
                    <a:pt x="3056" y="8"/>
                  </a:lnTo>
                  <a:lnTo>
                    <a:pt x="3056" y="8"/>
                  </a:lnTo>
                  <a:lnTo>
                    <a:pt x="3058" y="6"/>
                  </a:lnTo>
                  <a:lnTo>
                    <a:pt x="3058" y="6"/>
                  </a:lnTo>
                  <a:lnTo>
                    <a:pt x="3060" y="8"/>
                  </a:lnTo>
                  <a:lnTo>
                    <a:pt x="3060" y="8"/>
                  </a:lnTo>
                  <a:lnTo>
                    <a:pt x="3060" y="8"/>
                  </a:lnTo>
                  <a:lnTo>
                    <a:pt x="3060" y="8"/>
                  </a:lnTo>
                  <a:lnTo>
                    <a:pt x="3064" y="8"/>
                  </a:lnTo>
                  <a:lnTo>
                    <a:pt x="3064" y="8"/>
                  </a:lnTo>
                  <a:lnTo>
                    <a:pt x="3066" y="8"/>
                  </a:lnTo>
                  <a:lnTo>
                    <a:pt x="3066" y="8"/>
                  </a:lnTo>
                  <a:lnTo>
                    <a:pt x="3070" y="8"/>
                  </a:lnTo>
                  <a:lnTo>
                    <a:pt x="3070" y="8"/>
                  </a:lnTo>
                  <a:lnTo>
                    <a:pt x="3070" y="8"/>
                  </a:lnTo>
                  <a:lnTo>
                    <a:pt x="3070" y="8"/>
                  </a:lnTo>
                  <a:lnTo>
                    <a:pt x="3072" y="8"/>
                  </a:lnTo>
                  <a:lnTo>
                    <a:pt x="3072" y="8"/>
                  </a:lnTo>
                  <a:lnTo>
                    <a:pt x="3074" y="8"/>
                  </a:lnTo>
                  <a:lnTo>
                    <a:pt x="3074" y="8"/>
                  </a:lnTo>
                  <a:lnTo>
                    <a:pt x="3078" y="6"/>
                  </a:lnTo>
                  <a:lnTo>
                    <a:pt x="3078" y="6"/>
                  </a:lnTo>
                  <a:lnTo>
                    <a:pt x="3082" y="8"/>
                  </a:lnTo>
                  <a:lnTo>
                    <a:pt x="3082" y="8"/>
                  </a:lnTo>
                  <a:lnTo>
                    <a:pt x="3082" y="8"/>
                  </a:lnTo>
                  <a:lnTo>
                    <a:pt x="3082" y="8"/>
                  </a:lnTo>
                  <a:lnTo>
                    <a:pt x="3082" y="8"/>
                  </a:lnTo>
                  <a:lnTo>
                    <a:pt x="3082" y="8"/>
                  </a:lnTo>
                  <a:lnTo>
                    <a:pt x="3084" y="8"/>
                  </a:lnTo>
                  <a:lnTo>
                    <a:pt x="3084" y="8"/>
                  </a:lnTo>
                  <a:lnTo>
                    <a:pt x="3084" y="8"/>
                  </a:lnTo>
                  <a:lnTo>
                    <a:pt x="3084" y="8"/>
                  </a:lnTo>
                  <a:lnTo>
                    <a:pt x="3088" y="6"/>
                  </a:lnTo>
                  <a:lnTo>
                    <a:pt x="3088" y="6"/>
                  </a:lnTo>
                  <a:lnTo>
                    <a:pt x="3090" y="8"/>
                  </a:lnTo>
                  <a:lnTo>
                    <a:pt x="3090" y="8"/>
                  </a:lnTo>
                  <a:lnTo>
                    <a:pt x="3090" y="6"/>
                  </a:lnTo>
                  <a:lnTo>
                    <a:pt x="3090" y="6"/>
                  </a:lnTo>
                  <a:lnTo>
                    <a:pt x="3092" y="8"/>
                  </a:lnTo>
                  <a:lnTo>
                    <a:pt x="3092" y="8"/>
                  </a:lnTo>
                  <a:lnTo>
                    <a:pt x="3094" y="8"/>
                  </a:lnTo>
                  <a:lnTo>
                    <a:pt x="3094" y="8"/>
                  </a:lnTo>
                  <a:lnTo>
                    <a:pt x="3098" y="8"/>
                  </a:lnTo>
                  <a:lnTo>
                    <a:pt x="3098" y="8"/>
                  </a:lnTo>
                  <a:lnTo>
                    <a:pt x="3100" y="8"/>
                  </a:lnTo>
                  <a:lnTo>
                    <a:pt x="3100" y="8"/>
                  </a:lnTo>
                  <a:lnTo>
                    <a:pt x="3108" y="8"/>
                  </a:lnTo>
                  <a:lnTo>
                    <a:pt x="3108" y="8"/>
                  </a:lnTo>
                  <a:lnTo>
                    <a:pt x="3110" y="8"/>
                  </a:lnTo>
                  <a:lnTo>
                    <a:pt x="3110" y="8"/>
                  </a:lnTo>
                  <a:lnTo>
                    <a:pt x="3114" y="8"/>
                  </a:lnTo>
                  <a:lnTo>
                    <a:pt x="3114" y="8"/>
                  </a:lnTo>
                  <a:lnTo>
                    <a:pt x="3120" y="8"/>
                  </a:lnTo>
                  <a:lnTo>
                    <a:pt x="3120" y="8"/>
                  </a:lnTo>
                  <a:lnTo>
                    <a:pt x="3124" y="8"/>
                  </a:lnTo>
                  <a:lnTo>
                    <a:pt x="3124" y="8"/>
                  </a:lnTo>
                  <a:lnTo>
                    <a:pt x="3132" y="8"/>
                  </a:lnTo>
                  <a:lnTo>
                    <a:pt x="3132" y="8"/>
                  </a:lnTo>
                  <a:lnTo>
                    <a:pt x="3140" y="8"/>
                  </a:lnTo>
                  <a:lnTo>
                    <a:pt x="3140" y="8"/>
                  </a:lnTo>
                  <a:lnTo>
                    <a:pt x="3142" y="8"/>
                  </a:lnTo>
                  <a:lnTo>
                    <a:pt x="3142" y="8"/>
                  </a:lnTo>
                  <a:lnTo>
                    <a:pt x="3148" y="10"/>
                  </a:lnTo>
                  <a:lnTo>
                    <a:pt x="3148" y="10"/>
                  </a:lnTo>
                  <a:lnTo>
                    <a:pt x="3158" y="10"/>
                  </a:lnTo>
                  <a:lnTo>
                    <a:pt x="3158" y="10"/>
                  </a:lnTo>
                  <a:lnTo>
                    <a:pt x="3158" y="10"/>
                  </a:lnTo>
                  <a:lnTo>
                    <a:pt x="3158" y="10"/>
                  </a:lnTo>
                  <a:lnTo>
                    <a:pt x="3160" y="8"/>
                  </a:lnTo>
                  <a:lnTo>
                    <a:pt x="3160" y="8"/>
                  </a:lnTo>
                  <a:lnTo>
                    <a:pt x="3162" y="8"/>
                  </a:lnTo>
                  <a:lnTo>
                    <a:pt x="3162" y="8"/>
                  </a:lnTo>
                  <a:lnTo>
                    <a:pt x="3162" y="8"/>
                  </a:lnTo>
                  <a:lnTo>
                    <a:pt x="3162" y="8"/>
                  </a:lnTo>
                  <a:lnTo>
                    <a:pt x="3164" y="8"/>
                  </a:lnTo>
                  <a:lnTo>
                    <a:pt x="3164" y="8"/>
                  </a:lnTo>
                  <a:lnTo>
                    <a:pt x="3168" y="8"/>
                  </a:lnTo>
                  <a:lnTo>
                    <a:pt x="3168" y="8"/>
                  </a:lnTo>
                  <a:lnTo>
                    <a:pt x="3168" y="10"/>
                  </a:lnTo>
                  <a:lnTo>
                    <a:pt x="3168" y="10"/>
                  </a:lnTo>
                  <a:lnTo>
                    <a:pt x="3170" y="8"/>
                  </a:lnTo>
                  <a:lnTo>
                    <a:pt x="3170" y="8"/>
                  </a:lnTo>
                  <a:lnTo>
                    <a:pt x="3172" y="10"/>
                  </a:lnTo>
                  <a:lnTo>
                    <a:pt x="3172" y="10"/>
                  </a:lnTo>
                  <a:lnTo>
                    <a:pt x="3174" y="10"/>
                  </a:lnTo>
                  <a:lnTo>
                    <a:pt x="3174" y="10"/>
                  </a:lnTo>
                  <a:lnTo>
                    <a:pt x="3176" y="10"/>
                  </a:lnTo>
                  <a:lnTo>
                    <a:pt x="3176" y="10"/>
                  </a:lnTo>
                  <a:lnTo>
                    <a:pt x="3178" y="10"/>
                  </a:lnTo>
                  <a:lnTo>
                    <a:pt x="3178" y="10"/>
                  </a:lnTo>
                  <a:lnTo>
                    <a:pt x="3178" y="8"/>
                  </a:lnTo>
                  <a:lnTo>
                    <a:pt x="3178" y="8"/>
                  </a:lnTo>
                  <a:lnTo>
                    <a:pt x="3178" y="10"/>
                  </a:lnTo>
                  <a:lnTo>
                    <a:pt x="3178" y="10"/>
                  </a:lnTo>
                  <a:lnTo>
                    <a:pt x="3182" y="8"/>
                  </a:lnTo>
                  <a:lnTo>
                    <a:pt x="3182" y="8"/>
                  </a:lnTo>
                  <a:lnTo>
                    <a:pt x="3186" y="8"/>
                  </a:lnTo>
                  <a:lnTo>
                    <a:pt x="3186" y="8"/>
                  </a:lnTo>
                  <a:lnTo>
                    <a:pt x="3188" y="10"/>
                  </a:lnTo>
                  <a:lnTo>
                    <a:pt x="3188" y="10"/>
                  </a:lnTo>
                  <a:lnTo>
                    <a:pt x="3194" y="10"/>
                  </a:lnTo>
                  <a:lnTo>
                    <a:pt x="3194" y="10"/>
                  </a:lnTo>
                  <a:lnTo>
                    <a:pt x="3198" y="8"/>
                  </a:lnTo>
                  <a:lnTo>
                    <a:pt x="3198" y="8"/>
                  </a:lnTo>
                  <a:lnTo>
                    <a:pt x="3202" y="8"/>
                  </a:lnTo>
                  <a:lnTo>
                    <a:pt x="3202" y="8"/>
                  </a:lnTo>
                  <a:lnTo>
                    <a:pt x="3206" y="8"/>
                  </a:lnTo>
                  <a:lnTo>
                    <a:pt x="3206" y="8"/>
                  </a:lnTo>
                  <a:lnTo>
                    <a:pt x="3210" y="10"/>
                  </a:lnTo>
                  <a:lnTo>
                    <a:pt x="3210" y="10"/>
                  </a:lnTo>
                  <a:lnTo>
                    <a:pt x="3214" y="10"/>
                  </a:lnTo>
                  <a:lnTo>
                    <a:pt x="3214" y="10"/>
                  </a:lnTo>
                  <a:lnTo>
                    <a:pt x="3218" y="10"/>
                  </a:lnTo>
                  <a:lnTo>
                    <a:pt x="3218" y="10"/>
                  </a:lnTo>
                  <a:lnTo>
                    <a:pt x="3220" y="10"/>
                  </a:lnTo>
                  <a:lnTo>
                    <a:pt x="3220" y="10"/>
                  </a:lnTo>
                  <a:lnTo>
                    <a:pt x="3220" y="10"/>
                  </a:lnTo>
                  <a:lnTo>
                    <a:pt x="3220" y="10"/>
                  </a:lnTo>
                  <a:lnTo>
                    <a:pt x="3220" y="10"/>
                  </a:lnTo>
                  <a:lnTo>
                    <a:pt x="3220" y="10"/>
                  </a:lnTo>
                  <a:lnTo>
                    <a:pt x="3222" y="10"/>
                  </a:lnTo>
                  <a:lnTo>
                    <a:pt x="3222" y="10"/>
                  </a:lnTo>
                  <a:lnTo>
                    <a:pt x="3224" y="10"/>
                  </a:lnTo>
                  <a:lnTo>
                    <a:pt x="3224" y="10"/>
                  </a:lnTo>
                  <a:lnTo>
                    <a:pt x="3224" y="10"/>
                  </a:lnTo>
                  <a:lnTo>
                    <a:pt x="3224" y="10"/>
                  </a:lnTo>
                  <a:lnTo>
                    <a:pt x="3226" y="10"/>
                  </a:lnTo>
                  <a:lnTo>
                    <a:pt x="3226" y="10"/>
                  </a:lnTo>
                  <a:lnTo>
                    <a:pt x="3226" y="10"/>
                  </a:lnTo>
                  <a:lnTo>
                    <a:pt x="3226" y="10"/>
                  </a:lnTo>
                  <a:lnTo>
                    <a:pt x="3228" y="10"/>
                  </a:lnTo>
                  <a:lnTo>
                    <a:pt x="3228" y="10"/>
                  </a:lnTo>
                  <a:lnTo>
                    <a:pt x="3228" y="10"/>
                  </a:lnTo>
                  <a:lnTo>
                    <a:pt x="3228" y="10"/>
                  </a:lnTo>
                  <a:lnTo>
                    <a:pt x="3228" y="10"/>
                  </a:lnTo>
                  <a:lnTo>
                    <a:pt x="3228" y="10"/>
                  </a:lnTo>
                  <a:lnTo>
                    <a:pt x="3230" y="10"/>
                  </a:lnTo>
                  <a:lnTo>
                    <a:pt x="3230" y="10"/>
                  </a:lnTo>
                  <a:lnTo>
                    <a:pt x="3230" y="10"/>
                  </a:lnTo>
                  <a:lnTo>
                    <a:pt x="3230" y="10"/>
                  </a:lnTo>
                  <a:lnTo>
                    <a:pt x="3230" y="10"/>
                  </a:lnTo>
                  <a:lnTo>
                    <a:pt x="3230" y="10"/>
                  </a:lnTo>
                  <a:lnTo>
                    <a:pt x="3232" y="10"/>
                  </a:lnTo>
                  <a:lnTo>
                    <a:pt x="3232" y="10"/>
                  </a:lnTo>
                  <a:lnTo>
                    <a:pt x="3232" y="12"/>
                  </a:lnTo>
                  <a:lnTo>
                    <a:pt x="3232" y="12"/>
                  </a:lnTo>
                  <a:lnTo>
                    <a:pt x="3232" y="12"/>
                  </a:lnTo>
                  <a:lnTo>
                    <a:pt x="3232" y="12"/>
                  </a:lnTo>
                  <a:lnTo>
                    <a:pt x="3236" y="12"/>
                  </a:lnTo>
                  <a:lnTo>
                    <a:pt x="3236" y="12"/>
                  </a:lnTo>
                  <a:lnTo>
                    <a:pt x="3238" y="12"/>
                  </a:lnTo>
                  <a:lnTo>
                    <a:pt x="3238" y="12"/>
                  </a:lnTo>
                  <a:lnTo>
                    <a:pt x="3240" y="10"/>
                  </a:lnTo>
                  <a:lnTo>
                    <a:pt x="3240" y="10"/>
                  </a:lnTo>
                  <a:lnTo>
                    <a:pt x="3246" y="12"/>
                  </a:lnTo>
                  <a:lnTo>
                    <a:pt x="3246" y="12"/>
                  </a:lnTo>
                  <a:lnTo>
                    <a:pt x="3248" y="12"/>
                  </a:lnTo>
                  <a:lnTo>
                    <a:pt x="3248" y="12"/>
                  </a:lnTo>
                  <a:lnTo>
                    <a:pt x="3252" y="12"/>
                  </a:lnTo>
                  <a:lnTo>
                    <a:pt x="3256" y="12"/>
                  </a:lnTo>
                  <a:lnTo>
                    <a:pt x="3256" y="12"/>
                  </a:lnTo>
                  <a:lnTo>
                    <a:pt x="3258" y="12"/>
                  </a:lnTo>
                  <a:lnTo>
                    <a:pt x="3258" y="12"/>
                  </a:lnTo>
                  <a:lnTo>
                    <a:pt x="3260" y="12"/>
                  </a:lnTo>
                  <a:lnTo>
                    <a:pt x="3260" y="12"/>
                  </a:lnTo>
                  <a:lnTo>
                    <a:pt x="3262" y="12"/>
                  </a:lnTo>
                  <a:lnTo>
                    <a:pt x="3262" y="12"/>
                  </a:lnTo>
                  <a:lnTo>
                    <a:pt x="3262" y="14"/>
                  </a:lnTo>
                  <a:lnTo>
                    <a:pt x="3262" y="14"/>
                  </a:lnTo>
                  <a:lnTo>
                    <a:pt x="3262" y="14"/>
                  </a:lnTo>
                  <a:lnTo>
                    <a:pt x="3262" y="14"/>
                  </a:lnTo>
                  <a:lnTo>
                    <a:pt x="3262" y="14"/>
                  </a:lnTo>
                  <a:lnTo>
                    <a:pt x="3262" y="14"/>
                  </a:lnTo>
                  <a:lnTo>
                    <a:pt x="3262" y="14"/>
                  </a:lnTo>
                  <a:lnTo>
                    <a:pt x="3262" y="16"/>
                  </a:lnTo>
                  <a:lnTo>
                    <a:pt x="3262" y="16"/>
                  </a:lnTo>
                  <a:lnTo>
                    <a:pt x="3264" y="16"/>
                  </a:lnTo>
                  <a:lnTo>
                    <a:pt x="3264" y="16"/>
                  </a:lnTo>
                  <a:lnTo>
                    <a:pt x="3264" y="16"/>
                  </a:lnTo>
                  <a:lnTo>
                    <a:pt x="3264" y="18"/>
                  </a:lnTo>
                  <a:lnTo>
                    <a:pt x="3264" y="18"/>
                  </a:lnTo>
                  <a:lnTo>
                    <a:pt x="3266" y="16"/>
                  </a:lnTo>
                  <a:lnTo>
                    <a:pt x="3266" y="16"/>
                  </a:lnTo>
                  <a:lnTo>
                    <a:pt x="3266" y="16"/>
                  </a:lnTo>
                  <a:lnTo>
                    <a:pt x="3266" y="16"/>
                  </a:lnTo>
                  <a:lnTo>
                    <a:pt x="3264" y="16"/>
                  </a:lnTo>
                  <a:lnTo>
                    <a:pt x="3264" y="16"/>
                  </a:lnTo>
                  <a:lnTo>
                    <a:pt x="3268" y="14"/>
                  </a:lnTo>
                  <a:lnTo>
                    <a:pt x="3268" y="14"/>
                  </a:lnTo>
                  <a:lnTo>
                    <a:pt x="3268" y="12"/>
                  </a:lnTo>
                  <a:lnTo>
                    <a:pt x="3268" y="12"/>
                  </a:lnTo>
                  <a:lnTo>
                    <a:pt x="3272" y="14"/>
                  </a:lnTo>
                  <a:lnTo>
                    <a:pt x="3272" y="14"/>
                  </a:lnTo>
                  <a:lnTo>
                    <a:pt x="3272" y="14"/>
                  </a:lnTo>
                  <a:lnTo>
                    <a:pt x="3272" y="14"/>
                  </a:lnTo>
                  <a:lnTo>
                    <a:pt x="3274" y="14"/>
                  </a:lnTo>
                  <a:lnTo>
                    <a:pt x="3274" y="14"/>
                  </a:lnTo>
                  <a:lnTo>
                    <a:pt x="3276" y="14"/>
                  </a:lnTo>
                  <a:lnTo>
                    <a:pt x="3276" y="14"/>
                  </a:lnTo>
                  <a:lnTo>
                    <a:pt x="3276" y="14"/>
                  </a:lnTo>
                  <a:lnTo>
                    <a:pt x="3276" y="14"/>
                  </a:lnTo>
                  <a:lnTo>
                    <a:pt x="3278" y="14"/>
                  </a:lnTo>
                  <a:lnTo>
                    <a:pt x="3278" y="14"/>
                  </a:lnTo>
                  <a:lnTo>
                    <a:pt x="3280" y="14"/>
                  </a:lnTo>
                  <a:lnTo>
                    <a:pt x="3280" y="14"/>
                  </a:lnTo>
                  <a:lnTo>
                    <a:pt x="3282" y="14"/>
                  </a:lnTo>
                  <a:lnTo>
                    <a:pt x="3282" y="14"/>
                  </a:lnTo>
                  <a:lnTo>
                    <a:pt x="3284" y="14"/>
                  </a:lnTo>
                  <a:lnTo>
                    <a:pt x="3284" y="14"/>
                  </a:lnTo>
                  <a:lnTo>
                    <a:pt x="3290" y="12"/>
                  </a:lnTo>
                  <a:lnTo>
                    <a:pt x="3290" y="12"/>
                  </a:lnTo>
                  <a:lnTo>
                    <a:pt x="3294" y="12"/>
                  </a:lnTo>
                  <a:lnTo>
                    <a:pt x="3298" y="12"/>
                  </a:lnTo>
                  <a:lnTo>
                    <a:pt x="3298" y="12"/>
                  </a:lnTo>
                  <a:lnTo>
                    <a:pt x="3300" y="12"/>
                  </a:lnTo>
                  <a:lnTo>
                    <a:pt x="3300" y="12"/>
                  </a:lnTo>
                  <a:lnTo>
                    <a:pt x="3300" y="12"/>
                  </a:lnTo>
                  <a:lnTo>
                    <a:pt x="3300" y="12"/>
                  </a:lnTo>
                  <a:lnTo>
                    <a:pt x="3302" y="12"/>
                  </a:lnTo>
                  <a:lnTo>
                    <a:pt x="3302" y="12"/>
                  </a:lnTo>
                  <a:lnTo>
                    <a:pt x="3304" y="12"/>
                  </a:lnTo>
                  <a:lnTo>
                    <a:pt x="3304" y="12"/>
                  </a:lnTo>
                  <a:lnTo>
                    <a:pt x="3306" y="12"/>
                  </a:lnTo>
                  <a:lnTo>
                    <a:pt x="3306" y="12"/>
                  </a:lnTo>
                  <a:lnTo>
                    <a:pt x="3306" y="12"/>
                  </a:lnTo>
                  <a:lnTo>
                    <a:pt x="3306" y="12"/>
                  </a:lnTo>
                  <a:lnTo>
                    <a:pt x="3308" y="12"/>
                  </a:lnTo>
                  <a:lnTo>
                    <a:pt x="3308" y="12"/>
                  </a:lnTo>
                  <a:lnTo>
                    <a:pt x="3308" y="12"/>
                  </a:lnTo>
                  <a:lnTo>
                    <a:pt x="3308" y="12"/>
                  </a:lnTo>
                  <a:lnTo>
                    <a:pt x="3312" y="12"/>
                  </a:lnTo>
                  <a:lnTo>
                    <a:pt x="3312" y="12"/>
                  </a:lnTo>
                  <a:lnTo>
                    <a:pt x="3312" y="12"/>
                  </a:lnTo>
                  <a:lnTo>
                    <a:pt x="3312" y="12"/>
                  </a:lnTo>
                  <a:lnTo>
                    <a:pt x="3312" y="12"/>
                  </a:lnTo>
                  <a:lnTo>
                    <a:pt x="3312" y="12"/>
                  </a:lnTo>
                  <a:lnTo>
                    <a:pt x="3314" y="12"/>
                  </a:lnTo>
                  <a:lnTo>
                    <a:pt x="3314" y="12"/>
                  </a:lnTo>
                  <a:lnTo>
                    <a:pt x="3314" y="12"/>
                  </a:lnTo>
                  <a:lnTo>
                    <a:pt x="3314" y="12"/>
                  </a:lnTo>
                  <a:lnTo>
                    <a:pt x="3316" y="12"/>
                  </a:lnTo>
                  <a:lnTo>
                    <a:pt x="3316" y="12"/>
                  </a:lnTo>
                  <a:lnTo>
                    <a:pt x="3322" y="12"/>
                  </a:lnTo>
                  <a:lnTo>
                    <a:pt x="3322" y="12"/>
                  </a:lnTo>
                  <a:lnTo>
                    <a:pt x="3324" y="14"/>
                  </a:lnTo>
                  <a:lnTo>
                    <a:pt x="3324" y="14"/>
                  </a:lnTo>
                  <a:lnTo>
                    <a:pt x="3328" y="14"/>
                  </a:lnTo>
                  <a:lnTo>
                    <a:pt x="3328" y="14"/>
                  </a:lnTo>
                  <a:lnTo>
                    <a:pt x="3330" y="12"/>
                  </a:lnTo>
                  <a:lnTo>
                    <a:pt x="3330" y="12"/>
                  </a:lnTo>
                  <a:lnTo>
                    <a:pt x="3330" y="12"/>
                  </a:lnTo>
                  <a:lnTo>
                    <a:pt x="3330" y="12"/>
                  </a:lnTo>
                  <a:lnTo>
                    <a:pt x="3334" y="12"/>
                  </a:lnTo>
                  <a:lnTo>
                    <a:pt x="3334" y="12"/>
                  </a:lnTo>
                  <a:lnTo>
                    <a:pt x="3340" y="12"/>
                  </a:lnTo>
                  <a:lnTo>
                    <a:pt x="3340" y="12"/>
                  </a:lnTo>
                  <a:lnTo>
                    <a:pt x="3344" y="12"/>
                  </a:lnTo>
                  <a:lnTo>
                    <a:pt x="3344" y="12"/>
                  </a:lnTo>
                  <a:lnTo>
                    <a:pt x="3346" y="12"/>
                  </a:lnTo>
                  <a:lnTo>
                    <a:pt x="3346" y="12"/>
                  </a:lnTo>
                  <a:lnTo>
                    <a:pt x="3348" y="12"/>
                  </a:lnTo>
                  <a:lnTo>
                    <a:pt x="3348" y="12"/>
                  </a:lnTo>
                  <a:lnTo>
                    <a:pt x="3352" y="12"/>
                  </a:lnTo>
                  <a:lnTo>
                    <a:pt x="3352" y="12"/>
                  </a:lnTo>
                  <a:lnTo>
                    <a:pt x="3362" y="12"/>
                  </a:lnTo>
                  <a:lnTo>
                    <a:pt x="3362" y="12"/>
                  </a:lnTo>
                  <a:lnTo>
                    <a:pt x="3366" y="12"/>
                  </a:lnTo>
                  <a:lnTo>
                    <a:pt x="3366" y="12"/>
                  </a:lnTo>
                  <a:lnTo>
                    <a:pt x="3372" y="12"/>
                  </a:lnTo>
                  <a:lnTo>
                    <a:pt x="3372" y="12"/>
                  </a:lnTo>
                  <a:lnTo>
                    <a:pt x="3374" y="14"/>
                  </a:lnTo>
                  <a:lnTo>
                    <a:pt x="3374" y="14"/>
                  </a:lnTo>
                  <a:lnTo>
                    <a:pt x="3378" y="14"/>
                  </a:lnTo>
                  <a:lnTo>
                    <a:pt x="3378" y="14"/>
                  </a:lnTo>
                  <a:lnTo>
                    <a:pt x="3382" y="14"/>
                  </a:lnTo>
                  <a:lnTo>
                    <a:pt x="3384" y="14"/>
                  </a:lnTo>
                  <a:lnTo>
                    <a:pt x="3384" y="14"/>
                  </a:lnTo>
                  <a:lnTo>
                    <a:pt x="3392" y="12"/>
                  </a:lnTo>
                  <a:lnTo>
                    <a:pt x="3392" y="12"/>
                  </a:lnTo>
                  <a:lnTo>
                    <a:pt x="3396" y="14"/>
                  </a:lnTo>
                  <a:lnTo>
                    <a:pt x="3396" y="14"/>
                  </a:lnTo>
                  <a:lnTo>
                    <a:pt x="3408" y="12"/>
                  </a:lnTo>
                  <a:lnTo>
                    <a:pt x="3408" y="12"/>
                  </a:lnTo>
                  <a:lnTo>
                    <a:pt x="3412" y="12"/>
                  </a:lnTo>
                  <a:lnTo>
                    <a:pt x="3412" y="12"/>
                  </a:lnTo>
                  <a:lnTo>
                    <a:pt x="3418" y="12"/>
                  </a:lnTo>
                  <a:lnTo>
                    <a:pt x="3418" y="12"/>
                  </a:lnTo>
                  <a:lnTo>
                    <a:pt x="3418" y="12"/>
                  </a:lnTo>
                  <a:lnTo>
                    <a:pt x="3418" y="12"/>
                  </a:lnTo>
                  <a:lnTo>
                    <a:pt x="3418" y="12"/>
                  </a:lnTo>
                  <a:lnTo>
                    <a:pt x="3418" y="12"/>
                  </a:lnTo>
                  <a:lnTo>
                    <a:pt x="3422" y="12"/>
                  </a:lnTo>
                  <a:lnTo>
                    <a:pt x="3422" y="12"/>
                  </a:lnTo>
                  <a:lnTo>
                    <a:pt x="3422" y="12"/>
                  </a:lnTo>
                  <a:lnTo>
                    <a:pt x="3422" y="12"/>
                  </a:lnTo>
                  <a:lnTo>
                    <a:pt x="3422" y="12"/>
                  </a:lnTo>
                  <a:lnTo>
                    <a:pt x="3422" y="12"/>
                  </a:lnTo>
                  <a:lnTo>
                    <a:pt x="3422" y="12"/>
                  </a:lnTo>
                  <a:lnTo>
                    <a:pt x="3422" y="12"/>
                  </a:lnTo>
                  <a:lnTo>
                    <a:pt x="3424" y="12"/>
                  </a:lnTo>
                  <a:lnTo>
                    <a:pt x="3424" y="12"/>
                  </a:lnTo>
                  <a:lnTo>
                    <a:pt x="3426" y="12"/>
                  </a:lnTo>
                  <a:lnTo>
                    <a:pt x="3426" y="12"/>
                  </a:lnTo>
                  <a:lnTo>
                    <a:pt x="3426" y="12"/>
                  </a:lnTo>
                  <a:lnTo>
                    <a:pt x="3426" y="12"/>
                  </a:lnTo>
                  <a:lnTo>
                    <a:pt x="3428" y="12"/>
                  </a:lnTo>
                  <a:lnTo>
                    <a:pt x="3428" y="12"/>
                  </a:lnTo>
                  <a:lnTo>
                    <a:pt x="3428" y="12"/>
                  </a:lnTo>
                  <a:lnTo>
                    <a:pt x="3432" y="12"/>
                  </a:lnTo>
                  <a:lnTo>
                    <a:pt x="3432" y="12"/>
                  </a:lnTo>
                  <a:lnTo>
                    <a:pt x="3434" y="12"/>
                  </a:lnTo>
                  <a:lnTo>
                    <a:pt x="3434" y="12"/>
                  </a:lnTo>
                  <a:lnTo>
                    <a:pt x="3438" y="12"/>
                  </a:lnTo>
                  <a:lnTo>
                    <a:pt x="3438" y="12"/>
                  </a:lnTo>
                  <a:lnTo>
                    <a:pt x="3440" y="12"/>
                  </a:lnTo>
                  <a:lnTo>
                    <a:pt x="3440" y="12"/>
                  </a:lnTo>
                  <a:lnTo>
                    <a:pt x="3442" y="12"/>
                  </a:lnTo>
                  <a:lnTo>
                    <a:pt x="3442" y="12"/>
                  </a:lnTo>
                  <a:lnTo>
                    <a:pt x="3444" y="12"/>
                  </a:lnTo>
                  <a:lnTo>
                    <a:pt x="3444" y="12"/>
                  </a:lnTo>
                  <a:lnTo>
                    <a:pt x="3446" y="12"/>
                  </a:lnTo>
                  <a:lnTo>
                    <a:pt x="3446" y="12"/>
                  </a:lnTo>
                  <a:lnTo>
                    <a:pt x="3448" y="12"/>
                  </a:lnTo>
                  <a:lnTo>
                    <a:pt x="3448" y="12"/>
                  </a:lnTo>
                  <a:lnTo>
                    <a:pt x="3450" y="12"/>
                  </a:lnTo>
                  <a:lnTo>
                    <a:pt x="3450" y="12"/>
                  </a:lnTo>
                  <a:lnTo>
                    <a:pt x="3450" y="12"/>
                  </a:lnTo>
                  <a:lnTo>
                    <a:pt x="3450" y="12"/>
                  </a:lnTo>
                  <a:lnTo>
                    <a:pt x="3452" y="14"/>
                  </a:lnTo>
                  <a:lnTo>
                    <a:pt x="3452" y="14"/>
                  </a:lnTo>
                  <a:lnTo>
                    <a:pt x="3452" y="14"/>
                  </a:lnTo>
                  <a:lnTo>
                    <a:pt x="3454" y="16"/>
                  </a:lnTo>
                  <a:lnTo>
                    <a:pt x="3454" y="16"/>
                  </a:lnTo>
                  <a:lnTo>
                    <a:pt x="3456" y="16"/>
                  </a:lnTo>
                  <a:lnTo>
                    <a:pt x="3456" y="16"/>
                  </a:lnTo>
                  <a:lnTo>
                    <a:pt x="3456" y="16"/>
                  </a:lnTo>
                  <a:lnTo>
                    <a:pt x="3456" y="16"/>
                  </a:lnTo>
                  <a:lnTo>
                    <a:pt x="3456" y="16"/>
                  </a:lnTo>
                  <a:lnTo>
                    <a:pt x="3456" y="16"/>
                  </a:lnTo>
                  <a:lnTo>
                    <a:pt x="3456" y="18"/>
                  </a:lnTo>
                  <a:lnTo>
                    <a:pt x="3456" y="18"/>
                  </a:lnTo>
                  <a:lnTo>
                    <a:pt x="3456" y="18"/>
                  </a:lnTo>
                  <a:lnTo>
                    <a:pt x="3458" y="18"/>
                  </a:lnTo>
                  <a:lnTo>
                    <a:pt x="3458" y="18"/>
                  </a:lnTo>
                  <a:lnTo>
                    <a:pt x="3470" y="18"/>
                  </a:lnTo>
                  <a:lnTo>
                    <a:pt x="3470" y="18"/>
                  </a:lnTo>
                  <a:lnTo>
                    <a:pt x="3478" y="16"/>
                  </a:lnTo>
                  <a:lnTo>
                    <a:pt x="3478" y="16"/>
                  </a:lnTo>
                  <a:lnTo>
                    <a:pt x="3480" y="16"/>
                  </a:lnTo>
                  <a:lnTo>
                    <a:pt x="3480" y="16"/>
                  </a:lnTo>
                  <a:lnTo>
                    <a:pt x="3482" y="16"/>
                  </a:lnTo>
                  <a:lnTo>
                    <a:pt x="3482" y="16"/>
                  </a:lnTo>
                  <a:lnTo>
                    <a:pt x="3482" y="16"/>
                  </a:lnTo>
                  <a:lnTo>
                    <a:pt x="3482" y="16"/>
                  </a:lnTo>
                  <a:lnTo>
                    <a:pt x="3484" y="14"/>
                  </a:lnTo>
                  <a:lnTo>
                    <a:pt x="3484" y="14"/>
                  </a:lnTo>
                  <a:lnTo>
                    <a:pt x="3484" y="14"/>
                  </a:lnTo>
                  <a:lnTo>
                    <a:pt x="3484" y="14"/>
                  </a:lnTo>
                  <a:lnTo>
                    <a:pt x="3484" y="14"/>
                  </a:lnTo>
                  <a:lnTo>
                    <a:pt x="3488" y="14"/>
                  </a:lnTo>
                  <a:lnTo>
                    <a:pt x="3488" y="14"/>
                  </a:lnTo>
                  <a:lnTo>
                    <a:pt x="3490" y="14"/>
                  </a:lnTo>
                  <a:lnTo>
                    <a:pt x="3490" y="14"/>
                  </a:lnTo>
                  <a:lnTo>
                    <a:pt x="3494" y="14"/>
                  </a:lnTo>
                  <a:lnTo>
                    <a:pt x="3494" y="14"/>
                  </a:lnTo>
                  <a:lnTo>
                    <a:pt x="3498" y="12"/>
                  </a:lnTo>
                  <a:lnTo>
                    <a:pt x="3500" y="14"/>
                  </a:lnTo>
                  <a:lnTo>
                    <a:pt x="3500" y="14"/>
                  </a:lnTo>
                  <a:lnTo>
                    <a:pt x="3502" y="14"/>
                  </a:lnTo>
                  <a:lnTo>
                    <a:pt x="3502" y="14"/>
                  </a:lnTo>
                  <a:lnTo>
                    <a:pt x="3502" y="14"/>
                  </a:lnTo>
                  <a:lnTo>
                    <a:pt x="3502" y="14"/>
                  </a:lnTo>
                  <a:lnTo>
                    <a:pt x="3504" y="14"/>
                  </a:lnTo>
                  <a:lnTo>
                    <a:pt x="3504" y="14"/>
                  </a:lnTo>
                  <a:lnTo>
                    <a:pt x="3504" y="14"/>
                  </a:lnTo>
                  <a:lnTo>
                    <a:pt x="3504" y="14"/>
                  </a:lnTo>
                  <a:lnTo>
                    <a:pt x="3506" y="14"/>
                  </a:lnTo>
                  <a:lnTo>
                    <a:pt x="3506" y="14"/>
                  </a:lnTo>
                  <a:lnTo>
                    <a:pt x="3508" y="14"/>
                  </a:lnTo>
                  <a:lnTo>
                    <a:pt x="3508" y="14"/>
                  </a:lnTo>
                  <a:lnTo>
                    <a:pt x="3508" y="14"/>
                  </a:lnTo>
                  <a:lnTo>
                    <a:pt x="3508" y="14"/>
                  </a:lnTo>
                  <a:lnTo>
                    <a:pt x="3510" y="14"/>
                  </a:lnTo>
                  <a:lnTo>
                    <a:pt x="3510" y="14"/>
                  </a:lnTo>
                  <a:lnTo>
                    <a:pt x="3514" y="16"/>
                  </a:lnTo>
                  <a:lnTo>
                    <a:pt x="3514" y="16"/>
                  </a:lnTo>
                  <a:lnTo>
                    <a:pt x="3520" y="16"/>
                  </a:lnTo>
                  <a:lnTo>
                    <a:pt x="3520" y="16"/>
                  </a:lnTo>
                  <a:lnTo>
                    <a:pt x="3520" y="16"/>
                  </a:lnTo>
                  <a:lnTo>
                    <a:pt x="3520" y="16"/>
                  </a:lnTo>
                  <a:lnTo>
                    <a:pt x="3522" y="16"/>
                  </a:lnTo>
                  <a:lnTo>
                    <a:pt x="3524" y="18"/>
                  </a:lnTo>
                  <a:lnTo>
                    <a:pt x="3524" y="18"/>
                  </a:lnTo>
                  <a:lnTo>
                    <a:pt x="3524" y="18"/>
                  </a:lnTo>
                  <a:lnTo>
                    <a:pt x="3524" y="18"/>
                  </a:lnTo>
                  <a:lnTo>
                    <a:pt x="3526" y="18"/>
                  </a:lnTo>
                  <a:lnTo>
                    <a:pt x="3526" y="18"/>
                  </a:lnTo>
                  <a:lnTo>
                    <a:pt x="3530" y="18"/>
                  </a:lnTo>
                  <a:lnTo>
                    <a:pt x="3530" y="18"/>
                  </a:lnTo>
                  <a:lnTo>
                    <a:pt x="3530" y="16"/>
                  </a:lnTo>
                  <a:lnTo>
                    <a:pt x="3530" y="16"/>
                  </a:lnTo>
                  <a:lnTo>
                    <a:pt x="3530" y="16"/>
                  </a:lnTo>
                  <a:lnTo>
                    <a:pt x="3530" y="16"/>
                  </a:lnTo>
                  <a:lnTo>
                    <a:pt x="3532" y="16"/>
                  </a:lnTo>
                  <a:lnTo>
                    <a:pt x="3532" y="16"/>
                  </a:lnTo>
                  <a:lnTo>
                    <a:pt x="3534" y="14"/>
                  </a:lnTo>
                  <a:lnTo>
                    <a:pt x="3534" y="14"/>
                  </a:lnTo>
                  <a:lnTo>
                    <a:pt x="3540" y="12"/>
                  </a:lnTo>
                  <a:lnTo>
                    <a:pt x="3540" y="12"/>
                  </a:lnTo>
                  <a:lnTo>
                    <a:pt x="3554" y="14"/>
                  </a:lnTo>
                  <a:lnTo>
                    <a:pt x="3554" y="14"/>
                  </a:lnTo>
                  <a:lnTo>
                    <a:pt x="3556" y="14"/>
                  </a:lnTo>
                  <a:lnTo>
                    <a:pt x="3556" y="14"/>
                  </a:lnTo>
                  <a:lnTo>
                    <a:pt x="3560" y="14"/>
                  </a:lnTo>
                  <a:lnTo>
                    <a:pt x="3560" y="14"/>
                  </a:lnTo>
                  <a:lnTo>
                    <a:pt x="3566" y="14"/>
                  </a:lnTo>
                  <a:lnTo>
                    <a:pt x="3572" y="14"/>
                  </a:lnTo>
                  <a:lnTo>
                    <a:pt x="3572" y="14"/>
                  </a:lnTo>
                  <a:lnTo>
                    <a:pt x="3576" y="14"/>
                  </a:lnTo>
                  <a:lnTo>
                    <a:pt x="3582" y="14"/>
                  </a:lnTo>
                  <a:lnTo>
                    <a:pt x="3582" y="14"/>
                  </a:lnTo>
                  <a:lnTo>
                    <a:pt x="3588" y="14"/>
                  </a:lnTo>
                  <a:lnTo>
                    <a:pt x="3588" y="14"/>
                  </a:lnTo>
                  <a:lnTo>
                    <a:pt x="3592" y="16"/>
                  </a:lnTo>
                  <a:lnTo>
                    <a:pt x="3592" y="16"/>
                  </a:lnTo>
                  <a:lnTo>
                    <a:pt x="3600" y="16"/>
                  </a:lnTo>
                  <a:lnTo>
                    <a:pt x="3600" y="16"/>
                  </a:lnTo>
                  <a:lnTo>
                    <a:pt x="3602" y="16"/>
                  </a:lnTo>
                  <a:lnTo>
                    <a:pt x="3602" y="16"/>
                  </a:lnTo>
                  <a:lnTo>
                    <a:pt x="3602" y="16"/>
                  </a:lnTo>
                  <a:lnTo>
                    <a:pt x="3602" y="16"/>
                  </a:lnTo>
                  <a:lnTo>
                    <a:pt x="3604" y="18"/>
                  </a:lnTo>
                  <a:lnTo>
                    <a:pt x="3604" y="18"/>
                  </a:lnTo>
                  <a:lnTo>
                    <a:pt x="3614" y="16"/>
                  </a:lnTo>
                  <a:lnTo>
                    <a:pt x="3614" y="16"/>
                  </a:lnTo>
                  <a:lnTo>
                    <a:pt x="3616" y="16"/>
                  </a:lnTo>
                  <a:lnTo>
                    <a:pt x="3616" y="16"/>
                  </a:lnTo>
                  <a:lnTo>
                    <a:pt x="3618" y="16"/>
                  </a:lnTo>
                  <a:lnTo>
                    <a:pt x="3618" y="16"/>
                  </a:lnTo>
                  <a:lnTo>
                    <a:pt x="3618" y="16"/>
                  </a:lnTo>
                  <a:lnTo>
                    <a:pt x="3618" y="16"/>
                  </a:lnTo>
                  <a:lnTo>
                    <a:pt x="3618" y="14"/>
                  </a:lnTo>
                  <a:lnTo>
                    <a:pt x="3618" y="14"/>
                  </a:lnTo>
                  <a:lnTo>
                    <a:pt x="3620" y="16"/>
                  </a:lnTo>
                  <a:lnTo>
                    <a:pt x="3620" y="16"/>
                  </a:lnTo>
                  <a:lnTo>
                    <a:pt x="3620" y="16"/>
                  </a:lnTo>
                  <a:lnTo>
                    <a:pt x="3620" y="16"/>
                  </a:lnTo>
                  <a:lnTo>
                    <a:pt x="3620" y="14"/>
                  </a:lnTo>
                  <a:lnTo>
                    <a:pt x="3620" y="14"/>
                  </a:lnTo>
                  <a:lnTo>
                    <a:pt x="3620" y="16"/>
                  </a:lnTo>
                  <a:lnTo>
                    <a:pt x="3620" y="16"/>
                  </a:lnTo>
                  <a:lnTo>
                    <a:pt x="3622" y="14"/>
                  </a:lnTo>
                  <a:lnTo>
                    <a:pt x="3622" y="14"/>
                  </a:lnTo>
                  <a:lnTo>
                    <a:pt x="3622" y="16"/>
                  </a:lnTo>
                  <a:lnTo>
                    <a:pt x="3622" y="16"/>
                  </a:lnTo>
                  <a:lnTo>
                    <a:pt x="3624" y="16"/>
                  </a:lnTo>
                  <a:lnTo>
                    <a:pt x="3624" y="16"/>
                  </a:lnTo>
                  <a:lnTo>
                    <a:pt x="3624" y="16"/>
                  </a:lnTo>
                  <a:lnTo>
                    <a:pt x="3624" y="16"/>
                  </a:lnTo>
                  <a:lnTo>
                    <a:pt x="3630" y="16"/>
                  </a:lnTo>
                  <a:lnTo>
                    <a:pt x="3630" y="16"/>
                  </a:lnTo>
                  <a:lnTo>
                    <a:pt x="3630" y="16"/>
                  </a:lnTo>
                  <a:lnTo>
                    <a:pt x="3630" y="16"/>
                  </a:lnTo>
                  <a:lnTo>
                    <a:pt x="3630" y="16"/>
                  </a:lnTo>
                  <a:lnTo>
                    <a:pt x="3630" y="16"/>
                  </a:lnTo>
                  <a:lnTo>
                    <a:pt x="3630" y="16"/>
                  </a:lnTo>
                  <a:lnTo>
                    <a:pt x="3630" y="16"/>
                  </a:lnTo>
                  <a:lnTo>
                    <a:pt x="3634" y="16"/>
                  </a:lnTo>
                  <a:lnTo>
                    <a:pt x="3634" y="16"/>
                  </a:lnTo>
                  <a:lnTo>
                    <a:pt x="3634" y="16"/>
                  </a:lnTo>
                  <a:lnTo>
                    <a:pt x="3634" y="16"/>
                  </a:lnTo>
                  <a:lnTo>
                    <a:pt x="3634" y="16"/>
                  </a:lnTo>
                  <a:lnTo>
                    <a:pt x="3634" y="16"/>
                  </a:lnTo>
                  <a:lnTo>
                    <a:pt x="3634" y="16"/>
                  </a:lnTo>
                  <a:lnTo>
                    <a:pt x="3634" y="16"/>
                  </a:lnTo>
                  <a:lnTo>
                    <a:pt x="3636" y="16"/>
                  </a:lnTo>
                  <a:lnTo>
                    <a:pt x="3636" y="16"/>
                  </a:lnTo>
                  <a:lnTo>
                    <a:pt x="3636" y="16"/>
                  </a:lnTo>
                  <a:lnTo>
                    <a:pt x="3636" y="16"/>
                  </a:lnTo>
                  <a:lnTo>
                    <a:pt x="3636" y="16"/>
                  </a:lnTo>
                  <a:lnTo>
                    <a:pt x="3636" y="16"/>
                  </a:lnTo>
                  <a:lnTo>
                    <a:pt x="3636" y="16"/>
                  </a:lnTo>
                  <a:lnTo>
                    <a:pt x="3636" y="16"/>
                  </a:lnTo>
                  <a:lnTo>
                    <a:pt x="3636" y="16"/>
                  </a:lnTo>
                  <a:lnTo>
                    <a:pt x="3636" y="16"/>
                  </a:lnTo>
                  <a:lnTo>
                    <a:pt x="3636" y="16"/>
                  </a:lnTo>
                  <a:lnTo>
                    <a:pt x="3636" y="16"/>
                  </a:lnTo>
                  <a:lnTo>
                    <a:pt x="3638" y="16"/>
                  </a:lnTo>
                  <a:lnTo>
                    <a:pt x="3638" y="16"/>
                  </a:lnTo>
                  <a:lnTo>
                    <a:pt x="3638" y="16"/>
                  </a:lnTo>
                  <a:lnTo>
                    <a:pt x="3638" y="16"/>
                  </a:lnTo>
                  <a:lnTo>
                    <a:pt x="3638" y="16"/>
                  </a:lnTo>
                  <a:lnTo>
                    <a:pt x="3638" y="16"/>
                  </a:lnTo>
                  <a:lnTo>
                    <a:pt x="3638" y="16"/>
                  </a:lnTo>
                  <a:lnTo>
                    <a:pt x="3638" y="16"/>
                  </a:lnTo>
                  <a:lnTo>
                    <a:pt x="3642" y="16"/>
                  </a:lnTo>
                  <a:lnTo>
                    <a:pt x="3642" y="16"/>
                  </a:lnTo>
                  <a:lnTo>
                    <a:pt x="3642" y="16"/>
                  </a:lnTo>
                  <a:lnTo>
                    <a:pt x="3642" y="16"/>
                  </a:lnTo>
                  <a:lnTo>
                    <a:pt x="3642" y="16"/>
                  </a:lnTo>
                  <a:lnTo>
                    <a:pt x="3642" y="16"/>
                  </a:lnTo>
                  <a:lnTo>
                    <a:pt x="3646" y="18"/>
                  </a:lnTo>
                  <a:lnTo>
                    <a:pt x="3646" y="18"/>
                  </a:lnTo>
                  <a:lnTo>
                    <a:pt x="3646" y="18"/>
                  </a:lnTo>
                  <a:lnTo>
                    <a:pt x="3646" y="18"/>
                  </a:lnTo>
                  <a:lnTo>
                    <a:pt x="3648" y="16"/>
                  </a:lnTo>
                  <a:lnTo>
                    <a:pt x="3648" y="16"/>
                  </a:lnTo>
                  <a:lnTo>
                    <a:pt x="3648" y="16"/>
                  </a:lnTo>
                  <a:lnTo>
                    <a:pt x="3648" y="16"/>
                  </a:lnTo>
                  <a:lnTo>
                    <a:pt x="3650" y="16"/>
                  </a:lnTo>
                  <a:lnTo>
                    <a:pt x="3650" y="16"/>
                  </a:lnTo>
                  <a:lnTo>
                    <a:pt x="3652" y="16"/>
                  </a:lnTo>
                  <a:lnTo>
                    <a:pt x="3652" y="16"/>
                  </a:lnTo>
                  <a:lnTo>
                    <a:pt x="3652" y="16"/>
                  </a:lnTo>
                  <a:lnTo>
                    <a:pt x="3652" y="16"/>
                  </a:lnTo>
                  <a:lnTo>
                    <a:pt x="3654" y="16"/>
                  </a:lnTo>
                  <a:lnTo>
                    <a:pt x="3654" y="16"/>
                  </a:lnTo>
                  <a:lnTo>
                    <a:pt x="3654" y="16"/>
                  </a:lnTo>
                  <a:lnTo>
                    <a:pt x="3654" y="16"/>
                  </a:lnTo>
                  <a:lnTo>
                    <a:pt x="3656" y="14"/>
                  </a:lnTo>
                  <a:lnTo>
                    <a:pt x="3658" y="14"/>
                  </a:lnTo>
                  <a:lnTo>
                    <a:pt x="3658" y="14"/>
                  </a:lnTo>
                  <a:lnTo>
                    <a:pt x="3658" y="16"/>
                  </a:lnTo>
                  <a:lnTo>
                    <a:pt x="3658" y="16"/>
                  </a:lnTo>
                  <a:lnTo>
                    <a:pt x="3658" y="16"/>
                  </a:lnTo>
                  <a:lnTo>
                    <a:pt x="3662" y="20"/>
                  </a:lnTo>
                  <a:lnTo>
                    <a:pt x="3662" y="20"/>
                  </a:lnTo>
                  <a:lnTo>
                    <a:pt x="3668" y="20"/>
                  </a:lnTo>
                  <a:lnTo>
                    <a:pt x="3672" y="20"/>
                  </a:lnTo>
                  <a:lnTo>
                    <a:pt x="3672" y="20"/>
                  </a:lnTo>
                  <a:lnTo>
                    <a:pt x="3678" y="22"/>
                  </a:lnTo>
                  <a:lnTo>
                    <a:pt x="3684" y="22"/>
                  </a:lnTo>
                  <a:lnTo>
                    <a:pt x="3684" y="22"/>
                  </a:lnTo>
                  <a:lnTo>
                    <a:pt x="3688" y="20"/>
                  </a:lnTo>
                  <a:lnTo>
                    <a:pt x="3688" y="20"/>
                  </a:lnTo>
                  <a:lnTo>
                    <a:pt x="3690" y="20"/>
                  </a:lnTo>
                  <a:lnTo>
                    <a:pt x="3690" y="20"/>
                  </a:lnTo>
                  <a:lnTo>
                    <a:pt x="3692" y="18"/>
                  </a:lnTo>
                  <a:lnTo>
                    <a:pt x="3692" y="18"/>
                  </a:lnTo>
                  <a:lnTo>
                    <a:pt x="3692" y="18"/>
                  </a:lnTo>
                  <a:lnTo>
                    <a:pt x="3692" y="18"/>
                  </a:lnTo>
                  <a:lnTo>
                    <a:pt x="3692" y="18"/>
                  </a:lnTo>
                  <a:lnTo>
                    <a:pt x="3692" y="18"/>
                  </a:lnTo>
                  <a:lnTo>
                    <a:pt x="3692" y="18"/>
                  </a:lnTo>
                  <a:lnTo>
                    <a:pt x="3692" y="18"/>
                  </a:lnTo>
                  <a:lnTo>
                    <a:pt x="3694" y="18"/>
                  </a:lnTo>
                  <a:lnTo>
                    <a:pt x="3694" y="18"/>
                  </a:lnTo>
                  <a:lnTo>
                    <a:pt x="3698" y="18"/>
                  </a:lnTo>
                  <a:lnTo>
                    <a:pt x="3698" y="18"/>
                  </a:lnTo>
                  <a:lnTo>
                    <a:pt x="3702" y="16"/>
                  </a:lnTo>
                  <a:lnTo>
                    <a:pt x="3702" y="16"/>
                  </a:lnTo>
                  <a:lnTo>
                    <a:pt x="3708" y="18"/>
                  </a:lnTo>
                  <a:lnTo>
                    <a:pt x="3708" y="18"/>
                  </a:lnTo>
                  <a:lnTo>
                    <a:pt x="3710" y="18"/>
                  </a:lnTo>
                  <a:lnTo>
                    <a:pt x="3710" y="18"/>
                  </a:lnTo>
                  <a:lnTo>
                    <a:pt x="3714" y="18"/>
                  </a:lnTo>
                  <a:lnTo>
                    <a:pt x="3714" y="18"/>
                  </a:lnTo>
                  <a:lnTo>
                    <a:pt x="3716" y="18"/>
                  </a:lnTo>
                  <a:lnTo>
                    <a:pt x="3716" y="18"/>
                  </a:lnTo>
                  <a:lnTo>
                    <a:pt x="3720" y="18"/>
                  </a:lnTo>
                  <a:lnTo>
                    <a:pt x="3720" y="18"/>
                  </a:lnTo>
                  <a:lnTo>
                    <a:pt x="3726" y="18"/>
                  </a:lnTo>
                  <a:lnTo>
                    <a:pt x="3726" y="18"/>
                  </a:lnTo>
                  <a:lnTo>
                    <a:pt x="3732" y="18"/>
                  </a:lnTo>
                  <a:lnTo>
                    <a:pt x="3732" y="18"/>
                  </a:lnTo>
                  <a:lnTo>
                    <a:pt x="3734" y="18"/>
                  </a:lnTo>
                  <a:lnTo>
                    <a:pt x="3734" y="18"/>
                  </a:lnTo>
                  <a:lnTo>
                    <a:pt x="3740" y="18"/>
                  </a:lnTo>
                  <a:lnTo>
                    <a:pt x="3740" y="18"/>
                  </a:lnTo>
                  <a:lnTo>
                    <a:pt x="3748" y="18"/>
                  </a:lnTo>
                  <a:lnTo>
                    <a:pt x="3748" y="18"/>
                  </a:lnTo>
                  <a:lnTo>
                    <a:pt x="3756" y="18"/>
                  </a:lnTo>
                  <a:lnTo>
                    <a:pt x="3756" y="18"/>
                  </a:lnTo>
                  <a:lnTo>
                    <a:pt x="3760" y="20"/>
                  </a:lnTo>
                  <a:lnTo>
                    <a:pt x="3760" y="20"/>
                  </a:lnTo>
                  <a:lnTo>
                    <a:pt x="3764" y="20"/>
                  </a:lnTo>
                  <a:lnTo>
                    <a:pt x="3764" y="20"/>
                  </a:lnTo>
                  <a:lnTo>
                    <a:pt x="3770" y="20"/>
                  </a:lnTo>
                  <a:lnTo>
                    <a:pt x="3770" y="20"/>
                  </a:lnTo>
                  <a:lnTo>
                    <a:pt x="3772" y="20"/>
                  </a:lnTo>
                  <a:lnTo>
                    <a:pt x="3772" y="20"/>
                  </a:lnTo>
                  <a:lnTo>
                    <a:pt x="3776" y="20"/>
                  </a:lnTo>
                  <a:lnTo>
                    <a:pt x="3776" y="20"/>
                  </a:lnTo>
                  <a:lnTo>
                    <a:pt x="3778" y="20"/>
                  </a:lnTo>
                  <a:lnTo>
                    <a:pt x="3780" y="20"/>
                  </a:lnTo>
                  <a:lnTo>
                    <a:pt x="3780" y="20"/>
                  </a:lnTo>
                  <a:lnTo>
                    <a:pt x="3782" y="20"/>
                  </a:lnTo>
                  <a:lnTo>
                    <a:pt x="3782" y="20"/>
                  </a:lnTo>
                  <a:lnTo>
                    <a:pt x="3784" y="20"/>
                  </a:lnTo>
                  <a:lnTo>
                    <a:pt x="3784" y="20"/>
                  </a:lnTo>
                  <a:lnTo>
                    <a:pt x="3784" y="20"/>
                  </a:lnTo>
                  <a:lnTo>
                    <a:pt x="3784" y="20"/>
                  </a:lnTo>
                  <a:lnTo>
                    <a:pt x="3786" y="20"/>
                  </a:lnTo>
                  <a:lnTo>
                    <a:pt x="3786" y="20"/>
                  </a:lnTo>
                  <a:lnTo>
                    <a:pt x="3786" y="20"/>
                  </a:lnTo>
                  <a:lnTo>
                    <a:pt x="3786" y="20"/>
                  </a:lnTo>
                  <a:lnTo>
                    <a:pt x="3788" y="20"/>
                  </a:lnTo>
                  <a:lnTo>
                    <a:pt x="3788" y="20"/>
                  </a:lnTo>
                  <a:lnTo>
                    <a:pt x="3790" y="22"/>
                  </a:lnTo>
                  <a:lnTo>
                    <a:pt x="3790" y="22"/>
                  </a:lnTo>
                  <a:lnTo>
                    <a:pt x="3794" y="22"/>
                  </a:lnTo>
                  <a:lnTo>
                    <a:pt x="3794" y="22"/>
                  </a:lnTo>
                  <a:lnTo>
                    <a:pt x="3796" y="22"/>
                  </a:lnTo>
                  <a:lnTo>
                    <a:pt x="3796" y="22"/>
                  </a:lnTo>
                  <a:lnTo>
                    <a:pt x="3796" y="22"/>
                  </a:lnTo>
                  <a:lnTo>
                    <a:pt x="3796" y="22"/>
                  </a:lnTo>
                  <a:lnTo>
                    <a:pt x="3796" y="22"/>
                  </a:lnTo>
                  <a:lnTo>
                    <a:pt x="3796" y="22"/>
                  </a:lnTo>
                  <a:lnTo>
                    <a:pt x="3798" y="20"/>
                  </a:lnTo>
                  <a:lnTo>
                    <a:pt x="3798" y="20"/>
                  </a:lnTo>
                  <a:lnTo>
                    <a:pt x="3802" y="22"/>
                  </a:lnTo>
                  <a:lnTo>
                    <a:pt x="3802" y="22"/>
                  </a:lnTo>
                  <a:lnTo>
                    <a:pt x="3802" y="20"/>
                  </a:lnTo>
                  <a:lnTo>
                    <a:pt x="3802" y="20"/>
                  </a:lnTo>
                  <a:lnTo>
                    <a:pt x="3804" y="20"/>
                  </a:lnTo>
                  <a:lnTo>
                    <a:pt x="3804" y="20"/>
                  </a:lnTo>
                  <a:lnTo>
                    <a:pt x="3804" y="22"/>
                  </a:lnTo>
                  <a:lnTo>
                    <a:pt x="3804" y="22"/>
                  </a:lnTo>
                  <a:lnTo>
                    <a:pt x="3806" y="22"/>
                  </a:lnTo>
                  <a:lnTo>
                    <a:pt x="3806" y="22"/>
                  </a:lnTo>
                  <a:lnTo>
                    <a:pt x="3806" y="22"/>
                  </a:lnTo>
                  <a:lnTo>
                    <a:pt x="3806" y="22"/>
                  </a:lnTo>
                  <a:lnTo>
                    <a:pt x="3808" y="22"/>
                  </a:lnTo>
                  <a:lnTo>
                    <a:pt x="3808" y="22"/>
                  </a:lnTo>
                  <a:lnTo>
                    <a:pt x="3808" y="22"/>
                  </a:lnTo>
                  <a:lnTo>
                    <a:pt x="3808" y="22"/>
                  </a:lnTo>
                  <a:lnTo>
                    <a:pt x="3808" y="22"/>
                  </a:lnTo>
                  <a:lnTo>
                    <a:pt x="3808" y="22"/>
                  </a:lnTo>
                  <a:lnTo>
                    <a:pt x="3808" y="22"/>
                  </a:lnTo>
                  <a:lnTo>
                    <a:pt x="3808" y="22"/>
                  </a:lnTo>
                  <a:lnTo>
                    <a:pt x="3808" y="22"/>
                  </a:lnTo>
                  <a:lnTo>
                    <a:pt x="3808" y="22"/>
                  </a:lnTo>
                  <a:lnTo>
                    <a:pt x="3810" y="22"/>
                  </a:lnTo>
                  <a:lnTo>
                    <a:pt x="3810" y="22"/>
                  </a:lnTo>
                  <a:lnTo>
                    <a:pt x="3810" y="22"/>
                  </a:lnTo>
                  <a:lnTo>
                    <a:pt x="3810" y="22"/>
                  </a:lnTo>
                  <a:lnTo>
                    <a:pt x="3810" y="22"/>
                  </a:lnTo>
                  <a:lnTo>
                    <a:pt x="3810" y="22"/>
                  </a:lnTo>
                  <a:lnTo>
                    <a:pt x="3810" y="22"/>
                  </a:lnTo>
                  <a:lnTo>
                    <a:pt x="3810" y="22"/>
                  </a:lnTo>
                  <a:lnTo>
                    <a:pt x="3810" y="22"/>
                  </a:lnTo>
                  <a:lnTo>
                    <a:pt x="3810" y="22"/>
                  </a:lnTo>
                  <a:lnTo>
                    <a:pt x="3812" y="22"/>
                  </a:lnTo>
                  <a:lnTo>
                    <a:pt x="3812" y="22"/>
                  </a:lnTo>
                  <a:lnTo>
                    <a:pt x="3814" y="22"/>
                  </a:lnTo>
                  <a:lnTo>
                    <a:pt x="3814" y="22"/>
                  </a:lnTo>
                  <a:lnTo>
                    <a:pt x="3816" y="22"/>
                  </a:lnTo>
                  <a:lnTo>
                    <a:pt x="3816" y="22"/>
                  </a:lnTo>
                  <a:lnTo>
                    <a:pt x="3818" y="22"/>
                  </a:lnTo>
                  <a:lnTo>
                    <a:pt x="3818" y="22"/>
                  </a:lnTo>
                  <a:lnTo>
                    <a:pt x="3822" y="22"/>
                  </a:lnTo>
                  <a:lnTo>
                    <a:pt x="3822" y="22"/>
                  </a:lnTo>
                  <a:lnTo>
                    <a:pt x="3824" y="22"/>
                  </a:lnTo>
                  <a:lnTo>
                    <a:pt x="3824" y="22"/>
                  </a:lnTo>
                  <a:lnTo>
                    <a:pt x="3828" y="24"/>
                  </a:lnTo>
                  <a:lnTo>
                    <a:pt x="3828" y="24"/>
                  </a:lnTo>
                  <a:lnTo>
                    <a:pt x="3828" y="22"/>
                  </a:lnTo>
                  <a:lnTo>
                    <a:pt x="3828" y="22"/>
                  </a:lnTo>
                  <a:lnTo>
                    <a:pt x="3830" y="24"/>
                  </a:lnTo>
                  <a:lnTo>
                    <a:pt x="3830" y="24"/>
                  </a:lnTo>
                  <a:lnTo>
                    <a:pt x="3832" y="24"/>
                  </a:lnTo>
                  <a:lnTo>
                    <a:pt x="3832" y="24"/>
                  </a:lnTo>
                  <a:lnTo>
                    <a:pt x="3834" y="24"/>
                  </a:lnTo>
                  <a:lnTo>
                    <a:pt x="3834" y="24"/>
                  </a:lnTo>
                  <a:lnTo>
                    <a:pt x="3836" y="24"/>
                  </a:lnTo>
                  <a:lnTo>
                    <a:pt x="3836" y="24"/>
                  </a:lnTo>
                  <a:lnTo>
                    <a:pt x="3838" y="24"/>
                  </a:lnTo>
                  <a:lnTo>
                    <a:pt x="3838" y="24"/>
                  </a:lnTo>
                  <a:lnTo>
                    <a:pt x="3838" y="24"/>
                  </a:lnTo>
                  <a:lnTo>
                    <a:pt x="3838" y="24"/>
                  </a:lnTo>
                  <a:lnTo>
                    <a:pt x="3840" y="24"/>
                  </a:lnTo>
                  <a:lnTo>
                    <a:pt x="3840" y="24"/>
                  </a:lnTo>
                  <a:lnTo>
                    <a:pt x="3840" y="24"/>
                  </a:lnTo>
                  <a:lnTo>
                    <a:pt x="3840" y="24"/>
                  </a:lnTo>
                  <a:lnTo>
                    <a:pt x="3846" y="24"/>
                  </a:lnTo>
                  <a:lnTo>
                    <a:pt x="3846" y="24"/>
                  </a:lnTo>
                  <a:lnTo>
                    <a:pt x="3850" y="26"/>
                  </a:lnTo>
                  <a:lnTo>
                    <a:pt x="3850" y="26"/>
                  </a:lnTo>
                  <a:lnTo>
                    <a:pt x="3860" y="26"/>
                  </a:lnTo>
                  <a:lnTo>
                    <a:pt x="3860" y="26"/>
                  </a:lnTo>
                  <a:lnTo>
                    <a:pt x="3864" y="24"/>
                  </a:lnTo>
                  <a:lnTo>
                    <a:pt x="3864" y="24"/>
                  </a:lnTo>
                  <a:lnTo>
                    <a:pt x="3868" y="26"/>
                  </a:lnTo>
                  <a:lnTo>
                    <a:pt x="3868" y="26"/>
                  </a:lnTo>
                  <a:lnTo>
                    <a:pt x="3876" y="26"/>
                  </a:lnTo>
                  <a:lnTo>
                    <a:pt x="3876" y="26"/>
                  </a:lnTo>
                  <a:lnTo>
                    <a:pt x="3878" y="26"/>
                  </a:lnTo>
                  <a:lnTo>
                    <a:pt x="3878" y="26"/>
                  </a:lnTo>
                  <a:lnTo>
                    <a:pt x="3890" y="28"/>
                  </a:lnTo>
                  <a:lnTo>
                    <a:pt x="3890" y="28"/>
                  </a:lnTo>
                  <a:lnTo>
                    <a:pt x="3892" y="28"/>
                  </a:lnTo>
                  <a:lnTo>
                    <a:pt x="3892" y="28"/>
                  </a:lnTo>
                  <a:lnTo>
                    <a:pt x="3902" y="28"/>
                  </a:lnTo>
                  <a:lnTo>
                    <a:pt x="3902" y="28"/>
                  </a:lnTo>
                  <a:lnTo>
                    <a:pt x="3904" y="30"/>
                  </a:lnTo>
                  <a:lnTo>
                    <a:pt x="3904" y="30"/>
                  </a:lnTo>
                  <a:lnTo>
                    <a:pt x="3908" y="28"/>
                  </a:lnTo>
                  <a:lnTo>
                    <a:pt x="3908" y="28"/>
                  </a:lnTo>
                  <a:lnTo>
                    <a:pt x="3910" y="28"/>
                  </a:lnTo>
                  <a:lnTo>
                    <a:pt x="3910" y="28"/>
                  </a:lnTo>
                  <a:lnTo>
                    <a:pt x="3912" y="28"/>
                  </a:lnTo>
                  <a:lnTo>
                    <a:pt x="3912" y="28"/>
                  </a:lnTo>
                  <a:lnTo>
                    <a:pt x="3918" y="30"/>
                  </a:lnTo>
                  <a:lnTo>
                    <a:pt x="3918" y="30"/>
                  </a:lnTo>
                  <a:lnTo>
                    <a:pt x="3922" y="30"/>
                  </a:lnTo>
                  <a:lnTo>
                    <a:pt x="3922" y="30"/>
                  </a:lnTo>
                  <a:lnTo>
                    <a:pt x="3924" y="30"/>
                  </a:lnTo>
                  <a:lnTo>
                    <a:pt x="3924" y="30"/>
                  </a:lnTo>
                  <a:lnTo>
                    <a:pt x="3924" y="30"/>
                  </a:lnTo>
                  <a:lnTo>
                    <a:pt x="3924" y="30"/>
                  </a:lnTo>
                  <a:lnTo>
                    <a:pt x="3926" y="30"/>
                  </a:lnTo>
                  <a:lnTo>
                    <a:pt x="3926" y="30"/>
                  </a:lnTo>
                  <a:lnTo>
                    <a:pt x="3926" y="30"/>
                  </a:lnTo>
                  <a:lnTo>
                    <a:pt x="3926" y="30"/>
                  </a:lnTo>
                  <a:lnTo>
                    <a:pt x="3930" y="32"/>
                  </a:lnTo>
                  <a:lnTo>
                    <a:pt x="3930" y="32"/>
                  </a:lnTo>
                  <a:lnTo>
                    <a:pt x="3906" y="32"/>
                  </a:lnTo>
                  <a:lnTo>
                    <a:pt x="3906" y="32"/>
                  </a:lnTo>
                  <a:lnTo>
                    <a:pt x="3906" y="32"/>
                  </a:lnTo>
                  <a:lnTo>
                    <a:pt x="3906" y="32"/>
                  </a:lnTo>
                  <a:lnTo>
                    <a:pt x="3906" y="32"/>
                  </a:lnTo>
                  <a:lnTo>
                    <a:pt x="3904" y="32"/>
                  </a:lnTo>
                  <a:lnTo>
                    <a:pt x="3904" y="32"/>
                  </a:lnTo>
                  <a:lnTo>
                    <a:pt x="3904" y="32"/>
                  </a:lnTo>
                  <a:lnTo>
                    <a:pt x="3904" y="32"/>
                  </a:lnTo>
                  <a:lnTo>
                    <a:pt x="3904" y="32"/>
                  </a:lnTo>
                  <a:lnTo>
                    <a:pt x="3904" y="32"/>
                  </a:lnTo>
                  <a:lnTo>
                    <a:pt x="3898" y="34"/>
                  </a:lnTo>
                  <a:lnTo>
                    <a:pt x="3898" y="34"/>
                  </a:lnTo>
                  <a:lnTo>
                    <a:pt x="3892" y="36"/>
                  </a:lnTo>
                  <a:lnTo>
                    <a:pt x="3892" y="36"/>
                  </a:lnTo>
                  <a:lnTo>
                    <a:pt x="3890" y="36"/>
                  </a:lnTo>
                  <a:lnTo>
                    <a:pt x="3890" y="36"/>
                  </a:lnTo>
                  <a:lnTo>
                    <a:pt x="3888" y="36"/>
                  </a:lnTo>
                  <a:lnTo>
                    <a:pt x="3888" y="36"/>
                  </a:lnTo>
                  <a:lnTo>
                    <a:pt x="3886" y="36"/>
                  </a:lnTo>
                  <a:lnTo>
                    <a:pt x="3886" y="36"/>
                  </a:lnTo>
                  <a:lnTo>
                    <a:pt x="3886" y="36"/>
                  </a:lnTo>
                  <a:lnTo>
                    <a:pt x="3886" y="36"/>
                  </a:lnTo>
                  <a:lnTo>
                    <a:pt x="3886" y="36"/>
                  </a:lnTo>
                  <a:lnTo>
                    <a:pt x="3886" y="36"/>
                  </a:lnTo>
                  <a:lnTo>
                    <a:pt x="3884" y="36"/>
                  </a:lnTo>
                  <a:lnTo>
                    <a:pt x="3884" y="36"/>
                  </a:lnTo>
                  <a:lnTo>
                    <a:pt x="3882" y="36"/>
                  </a:lnTo>
                  <a:lnTo>
                    <a:pt x="3882" y="36"/>
                  </a:lnTo>
                  <a:lnTo>
                    <a:pt x="3882" y="36"/>
                  </a:lnTo>
                  <a:lnTo>
                    <a:pt x="3882" y="36"/>
                  </a:lnTo>
                  <a:lnTo>
                    <a:pt x="3882" y="36"/>
                  </a:lnTo>
                  <a:lnTo>
                    <a:pt x="3882" y="36"/>
                  </a:lnTo>
                  <a:lnTo>
                    <a:pt x="3882" y="36"/>
                  </a:lnTo>
                  <a:lnTo>
                    <a:pt x="3882" y="36"/>
                  </a:lnTo>
                  <a:lnTo>
                    <a:pt x="3878" y="36"/>
                  </a:lnTo>
                  <a:lnTo>
                    <a:pt x="3878" y="36"/>
                  </a:lnTo>
                  <a:lnTo>
                    <a:pt x="3878" y="36"/>
                  </a:lnTo>
                  <a:lnTo>
                    <a:pt x="3878" y="36"/>
                  </a:lnTo>
                  <a:lnTo>
                    <a:pt x="3878" y="36"/>
                  </a:lnTo>
                  <a:lnTo>
                    <a:pt x="3878" y="36"/>
                  </a:lnTo>
                  <a:lnTo>
                    <a:pt x="3876" y="36"/>
                  </a:lnTo>
                  <a:lnTo>
                    <a:pt x="3876" y="36"/>
                  </a:lnTo>
                  <a:lnTo>
                    <a:pt x="3874" y="36"/>
                  </a:lnTo>
                  <a:lnTo>
                    <a:pt x="3874" y="36"/>
                  </a:lnTo>
                  <a:lnTo>
                    <a:pt x="3874" y="36"/>
                  </a:lnTo>
                  <a:lnTo>
                    <a:pt x="3874" y="36"/>
                  </a:lnTo>
                  <a:lnTo>
                    <a:pt x="3874" y="36"/>
                  </a:lnTo>
                  <a:lnTo>
                    <a:pt x="3874" y="38"/>
                  </a:lnTo>
                  <a:lnTo>
                    <a:pt x="3874" y="38"/>
                  </a:lnTo>
                  <a:lnTo>
                    <a:pt x="3870" y="38"/>
                  </a:lnTo>
                  <a:lnTo>
                    <a:pt x="3870" y="38"/>
                  </a:lnTo>
                  <a:lnTo>
                    <a:pt x="3864" y="38"/>
                  </a:lnTo>
                  <a:lnTo>
                    <a:pt x="3864" y="38"/>
                  </a:lnTo>
                  <a:lnTo>
                    <a:pt x="3854" y="38"/>
                  </a:lnTo>
                  <a:lnTo>
                    <a:pt x="3854" y="38"/>
                  </a:lnTo>
                  <a:lnTo>
                    <a:pt x="3850" y="36"/>
                  </a:lnTo>
                  <a:lnTo>
                    <a:pt x="3850" y="36"/>
                  </a:lnTo>
                  <a:lnTo>
                    <a:pt x="3846" y="34"/>
                  </a:lnTo>
                  <a:lnTo>
                    <a:pt x="3846" y="34"/>
                  </a:lnTo>
                  <a:lnTo>
                    <a:pt x="3846" y="34"/>
                  </a:lnTo>
                  <a:lnTo>
                    <a:pt x="3846" y="34"/>
                  </a:lnTo>
                  <a:lnTo>
                    <a:pt x="3842" y="34"/>
                  </a:lnTo>
                  <a:lnTo>
                    <a:pt x="3842" y="34"/>
                  </a:lnTo>
                  <a:lnTo>
                    <a:pt x="3842" y="36"/>
                  </a:lnTo>
                  <a:lnTo>
                    <a:pt x="3842" y="36"/>
                  </a:lnTo>
                  <a:lnTo>
                    <a:pt x="3842" y="36"/>
                  </a:lnTo>
                  <a:lnTo>
                    <a:pt x="3842" y="36"/>
                  </a:lnTo>
                  <a:lnTo>
                    <a:pt x="3842" y="36"/>
                  </a:lnTo>
                  <a:lnTo>
                    <a:pt x="3842" y="36"/>
                  </a:lnTo>
                  <a:lnTo>
                    <a:pt x="3842" y="36"/>
                  </a:lnTo>
                  <a:lnTo>
                    <a:pt x="3840" y="38"/>
                  </a:lnTo>
                  <a:lnTo>
                    <a:pt x="3840" y="38"/>
                  </a:lnTo>
                  <a:lnTo>
                    <a:pt x="3832" y="38"/>
                  </a:lnTo>
                  <a:lnTo>
                    <a:pt x="3832" y="38"/>
                  </a:lnTo>
                  <a:lnTo>
                    <a:pt x="3830" y="38"/>
                  </a:lnTo>
                  <a:lnTo>
                    <a:pt x="3830" y="38"/>
                  </a:lnTo>
                  <a:lnTo>
                    <a:pt x="3828" y="38"/>
                  </a:lnTo>
                  <a:lnTo>
                    <a:pt x="3828" y="38"/>
                  </a:lnTo>
                  <a:lnTo>
                    <a:pt x="3826" y="38"/>
                  </a:lnTo>
                  <a:lnTo>
                    <a:pt x="3826" y="38"/>
                  </a:lnTo>
                  <a:lnTo>
                    <a:pt x="3824" y="38"/>
                  </a:lnTo>
                  <a:lnTo>
                    <a:pt x="3824" y="38"/>
                  </a:lnTo>
                  <a:lnTo>
                    <a:pt x="3824" y="38"/>
                  </a:lnTo>
                  <a:lnTo>
                    <a:pt x="3824" y="38"/>
                  </a:lnTo>
                  <a:lnTo>
                    <a:pt x="3824" y="38"/>
                  </a:lnTo>
                  <a:lnTo>
                    <a:pt x="3824" y="38"/>
                  </a:lnTo>
                  <a:lnTo>
                    <a:pt x="3822" y="38"/>
                  </a:lnTo>
                  <a:lnTo>
                    <a:pt x="3822" y="38"/>
                  </a:lnTo>
                  <a:lnTo>
                    <a:pt x="3820" y="38"/>
                  </a:lnTo>
                  <a:lnTo>
                    <a:pt x="3820" y="38"/>
                  </a:lnTo>
                  <a:lnTo>
                    <a:pt x="3820" y="38"/>
                  </a:lnTo>
                  <a:lnTo>
                    <a:pt x="3820" y="38"/>
                  </a:lnTo>
                  <a:lnTo>
                    <a:pt x="3812" y="40"/>
                  </a:lnTo>
                  <a:lnTo>
                    <a:pt x="3812" y="40"/>
                  </a:lnTo>
                  <a:lnTo>
                    <a:pt x="3810" y="40"/>
                  </a:lnTo>
                  <a:lnTo>
                    <a:pt x="3810" y="40"/>
                  </a:lnTo>
                  <a:lnTo>
                    <a:pt x="3810" y="40"/>
                  </a:lnTo>
                  <a:lnTo>
                    <a:pt x="3810" y="40"/>
                  </a:lnTo>
                  <a:lnTo>
                    <a:pt x="3810" y="40"/>
                  </a:lnTo>
                  <a:lnTo>
                    <a:pt x="3810" y="40"/>
                  </a:lnTo>
                  <a:lnTo>
                    <a:pt x="3808" y="40"/>
                  </a:lnTo>
                  <a:lnTo>
                    <a:pt x="3808" y="40"/>
                  </a:lnTo>
                  <a:lnTo>
                    <a:pt x="3808" y="40"/>
                  </a:lnTo>
                  <a:lnTo>
                    <a:pt x="3808" y="40"/>
                  </a:lnTo>
                  <a:lnTo>
                    <a:pt x="3808" y="40"/>
                  </a:lnTo>
                  <a:lnTo>
                    <a:pt x="3808" y="40"/>
                  </a:lnTo>
                  <a:lnTo>
                    <a:pt x="3806" y="42"/>
                  </a:lnTo>
                  <a:lnTo>
                    <a:pt x="3806" y="42"/>
                  </a:lnTo>
                  <a:lnTo>
                    <a:pt x="3806" y="42"/>
                  </a:lnTo>
                  <a:lnTo>
                    <a:pt x="3806" y="42"/>
                  </a:lnTo>
                  <a:lnTo>
                    <a:pt x="3802" y="42"/>
                  </a:lnTo>
                  <a:lnTo>
                    <a:pt x="3802" y="42"/>
                  </a:lnTo>
                  <a:lnTo>
                    <a:pt x="3800" y="42"/>
                  </a:lnTo>
                  <a:lnTo>
                    <a:pt x="3800" y="42"/>
                  </a:lnTo>
                  <a:lnTo>
                    <a:pt x="3794" y="42"/>
                  </a:lnTo>
                  <a:lnTo>
                    <a:pt x="3794" y="42"/>
                  </a:lnTo>
                  <a:lnTo>
                    <a:pt x="3794" y="42"/>
                  </a:lnTo>
                  <a:lnTo>
                    <a:pt x="3794" y="42"/>
                  </a:lnTo>
                  <a:lnTo>
                    <a:pt x="3794" y="42"/>
                  </a:lnTo>
                  <a:lnTo>
                    <a:pt x="3794" y="42"/>
                  </a:lnTo>
                  <a:lnTo>
                    <a:pt x="3790" y="42"/>
                  </a:lnTo>
                  <a:lnTo>
                    <a:pt x="3790" y="42"/>
                  </a:lnTo>
                  <a:lnTo>
                    <a:pt x="3790" y="42"/>
                  </a:lnTo>
                  <a:lnTo>
                    <a:pt x="3790" y="42"/>
                  </a:lnTo>
                  <a:lnTo>
                    <a:pt x="3788" y="42"/>
                  </a:lnTo>
                  <a:lnTo>
                    <a:pt x="3788" y="42"/>
                  </a:lnTo>
                  <a:lnTo>
                    <a:pt x="3782" y="42"/>
                  </a:lnTo>
                  <a:lnTo>
                    <a:pt x="3782" y="42"/>
                  </a:lnTo>
                  <a:lnTo>
                    <a:pt x="3780" y="42"/>
                  </a:lnTo>
                  <a:lnTo>
                    <a:pt x="3780" y="42"/>
                  </a:lnTo>
                  <a:lnTo>
                    <a:pt x="3772" y="42"/>
                  </a:lnTo>
                  <a:lnTo>
                    <a:pt x="3772" y="42"/>
                  </a:lnTo>
                  <a:lnTo>
                    <a:pt x="3762" y="40"/>
                  </a:lnTo>
                  <a:lnTo>
                    <a:pt x="3762" y="40"/>
                  </a:lnTo>
                  <a:lnTo>
                    <a:pt x="3758" y="42"/>
                  </a:lnTo>
                  <a:lnTo>
                    <a:pt x="3758" y="42"/>
                  </a:lnTo>
                  <a:lnTo>
                    <a:pt x="3750" y="42"/>
                  </a:lnTo>
                  <a:lnTo>
                    <a:pt x="3750" y="42"/>
                  </a:lnTo>
                  <a:lnTo>
                    <a:pt x="3750" y="42"/>
                  </a:lnTo>
                  <a:lnTo>
                    <a:pt x="3750" y="42"/>
                  </a:lnTo>
                  <a:lnTo>
                    <a:pt x="3750" y="42"/>
                  </a:lnTo>
                  <a:lnTo>
                    <a:pt x="3750" y="42"/>
                  </a:lnTo>
                  <a:lnTo>
                    <a:pt x="3748" y="42"/>
                  </a:lnTo>
                  <a:lnTo>
                    <a:pt x="3748" y="42"/>
                  </a:lnTo>
                  <a:lnTo>
                    <a:pt x="3748" y="42"/>
                  </a:lnTo>
                  <a:lnTo>
                    <a:pt x="3748" y="42"/>
                  </a:lnTo>
                  <a:lnTo>
                    <a:pt x="3748" y="42"/>
                  </a:lnTo>
                  <a:lnTo>
                    <a:pt x="3748" y="42"/>
                  </a:lnTo>
                  <a:lnTo>
                    <a:pt x="3746" y="42"/>
                  </a:lnTo>
                  <a:lnTo>
                    <a:pt x="3746" y="42"/>
                  </a:lnTo>
                  <a:lnTo>
                    <a:pt x="3744" y="42"/>
                  </a:lnTo>
                  <a:lnTo>
                    <a:pt x="3744" y="42"/>
                  </a:lnTo>
                  <a:lnTo>
                    <a:pt x="3744" y="42"/>
                  </a:lnTo>
                  <a:lnTo>
                    <a:pt x="3744" y="42"/>
                  </a:lnTo>
                  <a:lnTo>
                    <a:pt x="3742" y="42"/>
                  </a:lnTo>
                  <a:lnTo>
                    <a:pt x="3742" y="42"/>
                  </a:lnTo>
                  <a:lnTo>
                    <a:pt x="3740" y="42"/>
                  </a:lnTo>
                  <a:lnTo>
                    <a:pt x="3740" y="42"/>
                  </a:lnTo>
                  <a:lnTo>
                    <a:pt x="3738" y="42"/>
                  </a:lnTo>
                  <a:lnTo>
                    <a:pt x="3738" y="42"/>
                  </a:lnTo>
                  <a:lnTo>
                    <a:pt x="3736" y="42"/>
                  </a:lnTo>
                  <a:lnTo>
                    <a:pt x="3736" y="42"/>
                  </a:lnTo>
                  <a:lnTo>
                    <a:pt x="3730" y="42"/>
                  </a:lnTo>
                  <a:lnTo>
                    <a:pt x="3730" y="42"/>
                  </a:lnTo>
                  <a:lnTo>
                    <a:pt x="3728" y="42"/>
                  </a:lnTo>
                  <a:lnTo>
                    <a:pt x="3728" y="42"/>
                  </a:lnTo>
                  <a:lnTo>
                    <a:pt x="3724" y="42"/>
                  </a:lnTo>
                  <a:lnTo>
                    <a:pt x="3724" y="42"/>
                  </a:lnTo>
                  <a:lnTo>
                    <a:pt x="3720" y="42"/>
                  </a:lnTo>
                  <a:lnTo>
                    <a:pt x="3720" y="42"/>
                  </a:lnTo>
                  <a:lnTo>
                    <a:pt x="3718" y="42"/>
                  </a:lnTo>
                  <a:lnTo>
                    <a:pt x="3718" y="42"/>
                  </a:lnTo>
                  <a:lnTo>
                    <a:pt x="3714" y="42"/>
                  </a:lnTo>
                  <a:lnTo>
                    <a:pt x="3714" y="42"/>
                  </a:lnTo>
                  <a:lnTo>
                    <a:pt x="3710" y="44"/>
                  </a:lnTo>
                  <a:lnTo>
                    <a:pt x="3710" y="44"/>
                  </a:lnTo>
                  <a:lnTo>
                    <a:pt x="3710" y="44"/>
                  </a:lnTo>
                  <a:lnTo>
                    <a:pt x="3710" y="44"/>
                  </a:lnTo>
                  <a:lnTo>
                    <a:pt x="3708" y="44"/>
                  </a:lnTo>
                  <a:lnTo>
                    <a:pt x="3708" y="44"/>
                  </a:lnTo>
                  <a:lnTo>
                    <a:pt x="3708" y="44"/>
                  </a:lnTo>
                  <a:lnTo>
                    <a:pt x="3708" y="44"/>
                  </a:lnTo>
                  <a:lnTo>
                    <a:pt x="3708" y="44"/>
                  </a:lnTo>
                  <a:lnTo>
                    <a:pt x="3708" y="44"/>
                  </a:lnTo>
                  <a:lnTo>
                    <a:pt x="3706" y="44"/>
                  </a:lnTo>
                  <a:lnTo>
                    <a:pt x="3706" y="44"/>
                  </a:lnTo>
                  <a:lnTo>
                    <a:pt x="3704" y="44"/>
                  </a:lnTo>
                  <a:lnTo>
                    <a:pt x="3704" y="44"/>
                  </a:lnTo>
                  <a:lnTo>
                    <a:pt x="3704" y="44"/>
                  </a:lnTo>
                  <a:lnTo>
                    <a:pt x="3704" y="44"/>
                  </a:lnTo>
                  <a:lnTo>
                    <a:pt x="3698" y="46"/>
                  </a:lnTo>
                  <a:lnTo>
                    <a:pt x="3698" y="46"/>
                  </a:lnTo>
                  <a:lnTo>
                    <a:pt x="3698" y="46"/>
                  </a:lnTo>
                  <a:lnTo>
                    <a:pt x="3698" y="46"/>
                  </a:lnTo>
                  <a:lnTo>
                    <a:pt x="3690" y="46"/>
                  </a:lnTo>
                  <a:lnTo>
                    <a:pt x="3690" y="46"/>
                  </a:lnTo>
                  <a:lnTo>
                    <a:pt x="3688" y="46"/>
                  </a:lnTo>
                  <a:lnTo>
                    <a:pt x="3688" y="46"/>
                  </a:lnTo>
                  <a:lnTo>
                    <a:pt x="3684" y="46"/>
                  </a:lnTo>
                  <a:lnTo>
                    <a:pt x="3684" y="46"/>
                  </a:lnTo>
                  <a:lnTo>
                    <a:pt x="3680" y="46"/>
                  </a:lnTo>
                  <a:lnTo>
                    <a:pt x="3680" y="46"/>
                  </a:lnTo>
                  <a:lnTo>
                    <a:pt x="3678" y="46"/>
                  </a:lnTo>
                  <a:lnTo>
                    <a:pt x="3678" y="46"/>
                  </a:lnTo>
                  <a:lnTo>
                    <a:pt x="3678" y="46"/>
                  </a:lnTo>
                  <a:lnTo>
                    <a:pt x="3678" y="46"/>
                  </a:lnTo>
                  <a:lnTo>
                    <a:pt x="3676" y="46"/>
                  </a:lnTo>
                  <a:lnTo>
                    <a:pt x="3676" y="46"/>
                  </a:lnTo>
                  <a:lnTo>
                    <a:pt x="3676" y="46"/>
                  </a:lnTo>
                  <a:lnTo>
                    <a:pt x="3676" y="46"/>
                  </a:lnTo>
                  <a:lnTo>
                    <a:pt x="3676" y="46"/>
                  </a:lnTo>
                  <a:lnTo>
                    <a:pt x="3676" y="46"/>
                  </a:lnTo>
                  <a:lnTo>
                    <a:pt x="3674" y="46"/>
                  </a:lnTo>
                  <a:lnTo>
                    <a:pt x="3674" y="46"/>
                  </a:lnTo>
                  <a:lnTo>
                    <a:pt x="3670" y="48"/>
                  </a:lnTo>
                  <a:lnTo>
                    <a:pt x="3670" y="48"/>
                  </a:lnTo>
                  <a:lnTo>
                    <a:pt x="3664" y="46"/>
                  </a:lnTo>
                  <a:lnTo>
                    <a:pt x="3664" y="46"/>
                  </a:lnTo>
                  <a:lnTo>
                    <a:pt x="3660" y="44"/>
                  </a:lnTo>
                  <a:lnTo>
                    <a:pt x="3660" y="44"/>
                  </a:lnTo>
                  <a:lnTo>
                    <a:pt x="3658" y="44"/>
                  </a:lnTo>
                  <a:lnTo>
                    <a:pt x="3658" y="44"/>
                  </a:lnTo>
                  <a:lnTo>
                    <a:pt x="3656" y="44"/>
                  </a:lnTo>
                  <a:lnTo>
                    <a:pt x="3656" y="44"/>
                  </a:lnTo>
                  <a:lnTo>
                    <a:pt x="3652" y="46"/>
                  </a:lnTo>
                  <a:lnTo>
                    <a:pt x="3652" y="46"/>
                  </a:lnTo>
                  <a:lnTo>
                    <a:pt x="3650" y="48"/>
                  </a:lnTo>
                  <a:lnTo>
                    <a:pt x="3650" y="48"/>
                  </a:lnTo>
                  <a:lnTo>
                    <a:pt x="3648" y="48"/>
                  </a:lnTo>
                  <a:lnTo>
                    <a:pt x="3648" y="48"/>
                  </a:lnTo>
                  <a:lnTo>
                    <a:pt x="3648" y="48"/>
                  </a:lnTo>
                  <a:lnTo>
                    <a:pt x="3648" y="48"/>
                  </a:lnTo>
                  <a:lnTo>
                    <a:pt x="3646" y="48"/>
                  </a:lnTo>
                  <a:lnTo>
                    <a:pt x="3646" y="48"/>
                  </a:lnTo>
                  <a:lnTo>
                    <a:pt x="3646" y="48"/>
                  </a:lnTo>
                  <a:lnTo>
                    <a:pt x="3646" y="48"/>
                  </a:lnTo>
                  <a:lnTo>
                    <a:pt x="3644" y="48"/>
                  </a:lnTo>
                  <a:lnTo>
                    <a:pt x="3644" y="48"/>
                  </a:lnTo>
                  <a:lnTo>
                    <a:pt x="3644" y="48"/>
                  </a:lnTo>
                  <a:lnTo>
                    <a:pt x="3644" y="48"/>
                  </a:lnTo>
                  <a:lnTo>
                    <a:pt x="3642" y="48"/>
                  </a:lnTo>
                  <a:lnTo>
                    <a:pt x="3642" y="48"/>
                  </a:lnTo>
                  <a:lnTo>
                    <a:pt x="3638" y="48"/>
                  </a:lnTo>
                  <a:lnTo>
                    <a:pt x="3638" y="48"/>
                  </a:lnTo>
                  <a:lnTo>
                    <a:pt x="3638" y="46"/>
                  </a:lnTo>
                  <a:lnTo>
                    <a:pt x="3638" y="46"/>
                  </a:lnTo>
                  <a:lnTo>
                    <a:pt x="3634" y="46"/>
                  </a:lnTo>
                  <a:lnTo>
                    <a:pt x="3634" y="46"/>
                  </a:lnTo>
                  <a:lnTo>
                    <a:pt x="3634" y="46"/>
                  </a:lnTo>
                  <a:lnTo>
                    <a:pt x="3634" y="46"/>
                  </a:lnTo>
                  <a:lnTo>
                    <a:pt x="3634" y="46"/>
                  </a:lnTo>
                  <a:lnTo>
                    <a:pt x="3634" y="46"/>
                  </a:lnTo>
                  <a:lnTo>
                    <a:pt x="3630" y="46"/>
                  </a:lnTo>
                  <a:lnTo>
                    <a:pt x="3630" y="46"/>
                  </a:lnTo>
                  <a:lnTo>
                    <a:pt x="3630" y="46"/>
                  </a:lnTo>
                  <a:lnTo>
                    <a:pt x="3630" y="46"/>
                  </a:lnTo>
                  <a:lnTo>
                    <a:pt x="3628" y="46"/>
                  </a:lnTo>
                  <a:lnTo>
                    <a:pt x="3628" y="46"/>
                  </a:lnTo>
                  <a:lnTo>
                    <a:pt x="3626" y="46"/>
                  </a:lnTo>
                  <a:lnTo>
                    <a:pt x="3626" y="46"/>
                  </a:lnTo>
                  <a:lnTo>
                    <a:pt x="3624" y="46"/>
                  </a:lnTo>
                  <a:lnTo>
                    <a:pt x="3624" y="46"/>
                  </a:lnTo>
                  <a:lnTo>
                    <a:pt x="3620" y="48"/>
                  </a:lnTo>
                  <a:lnTo>
                    <a:pt x="3620" y="48"/>
                  </a:lnTo>
                  <a:lnTo>
                    <a:pt x="3610" y="48"/>
                  </a:lnTo>
                  <a:lnTo>
                    <a:pt x="3610" y="48"/>
                  </a:lnTo>
                  <a:lnTo>
                    <a:pt x="3608" y="48"/>
                  </a:lnTo>
                  <a:lnTo>
                    <a:pt x="3608" y="48"/>
                  </a:lnTo>
                  <a:lnTo>
                    <a:pt x="3606" y="48"/>
                  </a:lnTo>
                  <a:lnTo>
                    <a:pt x="3606" y="48"/>
                  </a:lnTo>
                  <a:lnTo>
                    <a:pt x="3604" y="48"/>
                  </a:lnTo>
                  <a:lnTo>
                    <a:pt x="3604" y="48"/>
                  </a:lnTo>
                  <a:lnTo>
                    <a:pt x="3602" y="48"/>
                  </a:lnTo>
                  <a:lnTo>
                    <a:pt x="3602" y="48"/>
                  </a:lnTo>
                  <a:lnTo>
                    <a:pt x="3598" y="48"/>
                  </a:lnTo>
                  <a:lnTo>
                    <a:pt x="3598" y="48"/>
                  </a:lnTo>
                  <a:lnTo>
                    <a:pt x="3596" y="46"/>
                  </a:lnTo>
                  <a:lnTo>
                    <a:pt x="3596" y="46"/>
                  </a:lnTo>
                  <a:lnTo>
                    <a:pt x="3592" y="48"/>
                  </a:lnTo>
                  <a:lnTo>
                    <a:pt x="3592" y="48"/>
                  </a:lnTo>
                  <a:lnTo>
                    <a:pt x="3592" y="48"/>
                  </a:lnTo>
                  <a:lnTo>
                    <a:pt x="3592" y="48"/>
                  </a:lnTo>
                  <a:lnTo>
                    <a:pt x="3590" y="48"/>
                  </a:lnTo>
                  <a:lnTo>
                    <a:pt x="3590" y="48"/>
                  </a:lnTo>
                  <a:lnTo>
                    <a:pt x="3588" y="48"/>
                  </a:lnTo>
                  <a:lnTo>
                    <a:pt x="3588" y="48"/>
                  </a:lnTo>
                  <a:lnTo>
                    <a:pt x="3586" y="48"/>
                  </a:lnTo>
                  <a:lnTo>
                    <a:pt x="3586" y="48"/>
                  </a:lnTo>
                  <a:lnTo>
                    <a:pt x="3582" y="48"/>
                  </a:lnTo>
                  <a:lnTo>
                    <a:pt x="3582" y="48"/>
                  </a:lnTo>
                  <a:lnTo>
                    <a:pt x="3576" y="48"/>
                  </a:lnTo>
                  <a:lnTo>
                    <a:pt x="3576" y="48"/>
                  </a:lnTo>
                  <a:lnTo>
                    <a:pt x="3572" y="48"/>
                  </a:lnTo>
                  <a:lnTo>
                    <a:pt x="3570" y="48"/>
                  </a:lnTo>
                  <a:lnTo>
                    <a:pt x="3570" y="48"/>
                  </a:lnTo>
                  <a:lnTo>
                    <a:pt x="3568" y="50"/>
                  </a:lnTo>
                  <a:lnTo>
                    <a:pt x="3568" y="50"/>
                  </a:lnTo>
                  <a:lnTo>
                    <a:pt x="3566" y="50"/>
                  </a:lnTo>
                  <a:lnTo>
                    <a:pt x="3566" y="50"/>
                  </a:lnTo>
                  <a:lnTo>
                    <a:pt x="3566" y="50"/>
                  </a:lnTo>
                  <a:lnTo>
                    <a:pt x="3566" y="50"/>
                  </a:lnTo>
                  <a:lnTo>
                    <a:pt x="3566" y="50"/>
                  </a:lnTo>
                  <a:lnTo>
                    <a:pt x="3566" y="50"/>
                  </a:lnTo>
                  <a:lnTo>
                    <a:pt x="3566" y="50"/>
                  </a:lnTo>
                  <a:lnTo>
                    <a:pt x="3566" y="50"/>
                  </a:lnTo>
                  <a:lnTo>
                    <a:pt x="3564" y="50"/>
                  </a:lnTo>
                  <a:lnTo>
                    <a:pt x="3564" y="50"/>
                  </a:lnTo>
                  <a:lnTo>
                    <a:pt x="3564" y="50"/>
                  </a:lnTo>
                  <a:lnTo>
                    <a:pt x="3564" y="50"/>
                  </a:lnTo>
                  <a:lnTo>
                    <a:pt x="3564" y="50"/>
                  </a:lnTo>
                  <a:lnTo>
                    <a:pt x="3564" y="50"/>
                  </a:lnTo>
                  <a:lnTo>
                    <a:pt x="3562" y="48"/>
                  </a:lnTo>
                  <a:lnTo>
                    <a:pt x="3562" y="48"/>
                  </a:lnTo>
                  <a:lnTo>
                    <a:pt x="3562" y="50"/>
                  </a:lnTo>
                  <a:lnTo>
                    <a:pt x="3562" y="50"/>
                  </a:lnTo>
                  <a:lnTo>
                    <a:pt x="3562" y="48"/>
                  </a:lnTo>
                  <a:lnTo>
                    <a:pt x="3562" y="48"/>
                  </a:lnTo>
                  <a:lnTo>
                    <a:pt x="3560" y="48"/>
                  </a:lnTo>
                  <a:lnTo>
                    <a:pt x="3560" y="48"/>
                  </a:lnTo>
                  <a:lnTo>
                    <a:pt x="3558" y="48"/>
                  </a:lnTo>
                  <a:lnTo>
                    <a:pt x="3558" y="48"/>
                  </a:lnTo>
                  <a:lnTo>
                    <a:pt x="3558" y="48"/>
                  </a:lnTo>
                  <a:lnTo>
                    <a:pt x="3558" y="48"/>
                  </a:lnTo>
                  <a:lnTo>
                    <a:pt x="3558" y="48"/>
                  </a:lnTo>
                  <a:lnTo>
                    <a:pt x="3558" y="48"/>
                  </a:lnTo>
                  <a:lnTo>
                    <a:pt x="3556" y="48"/>
                  </a:lnTo>
                  <a:lnTo>
                    <a:pt x="3556" y="48"/>
                  </a:lnTo>
                  <a:lnTo>
                    <a:pt x="3556" y="48"/>
                  </a:lnTo>
                  <a:lnTo>
                    <a:pt x="3556" y="48"/>
                  </a:lnTo>
                  <a:lnTo>
                    <a:pt x="3554" y="48"/>
                  </a:lnTo>
                  <a:lnTo>
                    <a:pt x="3554" y="48"/>
                  </a:lnTo>
                  <a:lnTo>
                    <a:pt x="3554" y="48"/>
                  </a:lnTo>
                  <a:lnTo>
                    <a:pt x="3554" y="48"/>
                  </a:lnTo>
                  <a:lnTo>
                    <a:pt x="3552" y="48"/>
                  </a:lnTo>
                  <a:lnTo>
                    <a:pt x="3552" y="48"/>
                  </a:lnTo>
                  <a:lnTo>
                    <a:pt x="3552" y="48"/>
                  </a:lnTo>
                  <a:lnTo>
                    <a:pt x="3552" y="48"/>
                  </a:lnTo>
                  <a:lnTo>
                    <a:pt x="3550" y="48"/>
                  </a:lnTo>
                  <a:lnTo>
                    <a:pt x="3550" y="48"/>
                  </a:lnTo>
                  <a:lnTo>
                    <a:pt x="3550" y="48"/>
                  </a:lnTo>
                  <a:lnTo>
                    <a:pt x="3550" y="48"/>
                  </a:lnTo>
                  <a:lnTo>
                    <a:pt x="3550" y="46"/>
                  </a:lnTo>
                  <a:lnTo>
                    <a:pt x="3550" y="46"/>
                  </a:lnTo>
                  <a:lnTo>
                    <a:pt x="3548" y="48"/>
                  </a:lnTo>
                  <a:lnTo>
                    <a:pt x="3548" y="48"/>
                  </a:lnTo>
                  <a:lnTo>
                    <a:pt x="3548" y="46"/>
                  </a:lnTo>
                  <a:lnTo>
                    <a:pt x="3548" y="46"/>
                  </a:lnTo>
                  <a:lnTo>
                    <a:pt x="3546" y="46"/>
                  </a:lnTo>
                  <a:lnTo>
                    <a:pt x="3546" y="46"/>
                  </a:lnTo>
                  <a:lnTo>
                    <a:pt x="3544" y="46"/>
                  </a:lnTo>
                  <a:lnTo>
                    <a:pt x="3544" y="46"/>
                  </a:lnTo>
                  <a:lnTo>
                    <a:pt x="3544" y="46"/>
                  </a:lnTo>
                  <a:lnTo>
                    <a:pt x="3544" y="46"/>
                  </a:lnTo>
                  <a:lnTo>
                    <a:pt x="3544" y="46"/>
                  </a:lnTo>
                  <a:lnTo>
                    <a:pt x="3544" y="46"/>
                  </a:lnTo>
                  <a:lnTo>
                    <a:pt x="3542" y="46"/>
                  </a:lnTo>
                  <a:lnTo>
                    <a:pt x="3542" y="46"/>
                  </a:lnTo>
                  <a:lnTo>
                    <a:pt x="3542" y="48"/>
                  </a:lnTo>
                  <a:lnTo>
                    <a:pt x="3542" y="48"/>
                  </a:lnTo>
                  <a:lnTo>
                    <a:pt x="3542" y="46"/>
                  </a:lnTo>
                  <a:lnTo>
                    <a:pt x="3542" y="46"/>
                  </a:lnTo>
                  <a:lnTo>
                    <a:pt x="3536" y="48"/>
                  </a:lnTo>
                  <a:lnTo>
                    <a:pt x="3536" y="48"/>
                  </a:lnTo>
                  <a:lnTo>
                    <a:pt x="3534" y="48"/>
                  </a:lnTo>
                  <a:lnTo>
                    <a:pt x="3534" y="48"/>
                  </a:lnTo>
                  <a:lnTo>
                    <a:pt x="3526" y="48"/>
                  </a:lnTo>
                  <a:lnTo>
                    <a:pt x="3526" y="48"/>
                  </a:lnTo>
                  <a:lnTo>
                    <a:pt x="3524" y="48"/>
                  </a:lnTo>
                  <a:lnTo>
                    <a:pt x="3524" y="48"/>
                  </a:lnTo>
                  <a:lnTo>
                    <a:pt x="3522" y="48"/>
                  </a:lnTo>
                  <a:lnTo>
                    <a:pt x="3522" y="48"/>
                  </a:lnTo>
                  <a:lnTo>
                    <a:pt x="3522" y="48"/>
                  </a:lnTo>
                  <a:lnTo>
                    <a:pt x="3522" y="48"/>
                  </a:lnTo>
                  <a:lnTo>
                    <a:pt x="3522" y="48"/>
                  </a:lnTo>
                  <a:lnTo>
                    <a:pt x="3522" y="48"/>
                  </a:lnTo>
                  <a:lnTo>
                    <a:pt x="3520" y="48"/>
                  </a:lnTo>
                  <a:lnTo>
                    <a:pt x="3520" y="48"/>
                  </a:lnTo>
                  <a:lnTo>
                    <a:pt x="3518" y="48"/>
                  </a:lnTo>
                  <a:lnTo>
                    <a:pt x="3518" y="48"/>
                  </a:lnTo>
                  <a:lnTo>
                    <a:pt x="3518" y="48"/>
                  </a:lnTo>
                  <a:lnTo>
                    <a:pt x="3518" y="48"/>
                  </a:lnTo>
                  <a:lnTo>
                    <a:pt x="3518" y="48"/>
                  </a:lnTo>
                  <a:lnTo>
                    <a:pt x="3518" y="48"/>
                  </a:lnTo>
                  <a:lnTo>
                    <a:pt x="3518" y="50"/>
                  </a:lnTo>
                  <a:lnTo>
                    <a:pt x="3518" y="50"/>
                  </a:lnTo>
                  <a:lnTo>
                    <a:pt x="3512" y="48"/>
                  </a:lnTo>
                  <a:lnTo>
                    <a:pt x="3508" y="50"/>
                  </a:lnTo>
                  <a:lnTo>
                    <a:pt x="3508" y="50"/>
                  </a:lnTo>
                  <a:lnTo>
                    <a:pt x="3502" y="48"/>
                  </a:lnTo>
                  <a:lnTo>
                    <a:pt x="3502" y="48"/>
                  </a:lnTo>
                  <a:lnTo>
                    <a:pt x="3494" y="48"/>
                  </a:lnTo>
                  <a:lnTo>
                    <a:pt x="3494" y="48"/>
                  </a:lnTo>
                  <a:lnTo>
                    <a:pt x="3490" y="48"/>
                  </a:lnTo>
                  <a:lnTo>
                    <a:pt x="3490" y="48"/>
                  </a:lnTo>
                  <a:lnTo>
                    <a:pt x="3488" y="48"/>
                  </a:lnTo>
                  <a:lnTo>
                    <a:pt x="3488" y="48"/>
                  </a:lnTo>
                  <a:lnTo>
                    <a:pt x="3486" y="48"/>
                  </a:lnTo>
                  <a:lnTo>
                    <a:pt x="3486" y="48"/>
                  </a:lnTo>
                  <a:lnTo>
                    <a:pt x="3478" y="48"/>
                  </a:lnTo>
                  <a:lnTo>
                    <a:pt x="3478" y="48"/>
                  </a:lnTo>
                  <a:lnTo>
                    <a:pt x="3478" y="48"/>
                  </a:lnTo>
                  <a:lnTo>
                    <a:pt x="3478" y="48"/>
                  </a:lnTo>
                  <a:lnTo>
                    <a:pt x="3476" y="48"/>
                  </a:lnTo>
                  <a:lnTo>
                    <a:pt x="3476" y="48"/>
                  </a:lnTo>
                  <a:lnTo>
                    <a:pt x="3474" y="48"/>
                  </a:lnTo>
                  <a:lnTo>
                    <a:pt x="3474" y="48"/>
                  </a:lnTo>
                  <a:lnTo>
                    <a:pt x="3472" y="48"/>
                  </a:lnTo>
                  <a:lnTo>
                    <a:pt x="3472" y="48"/>
                  </a:lnTo>
                  <a:lnTo>
                    <a:pt x="3470" y="48"/>
                  </a:lnTo>
                  <a:lnTo>
                    <a:pt x="3470" y="48"/>
                  </a:lnTo>
                  <a:lnTo>
                    <a:pt x="3468" y="48"/>
                  </a:lnTo>
                  <a:lnTo>
                    <a:pt x="3468" y="48"/>
                  </a:lnTo>
                  <a:lnTo>
                    <a:pt x="3468" y="48"/>
                  </a:lnTo>
                  <a:lnTo>
                    <a:pt x="3468" y="48"/>
                  </a:lnTo>
                  <a:lnTo>
                    <a:pt x="3468" y="48"/>
                  </a:lnTo>
                  <a:lnTo>
                    <a:pt x="3468" y="48"/>
                  </a:lnTo>
                  <a:lnTo>
                    <a:pt x="3464" y="48"/>
                  </a:lnTo>
                  <a:lnTo>
                    <a:pt x="3464" y="48"/>
                  </a:lnTo>
                  <a:lnTo>
                    <a:pt x="3464" y="48"/>
                  </a:lnTo>
                  <a:lnTo>
                    <a:pt x="3464" y="48"/>
                  </a:lnTo>
                  <a:lnTo>
                    <a:pt x="3464" y="48"/>
                  </a:lnTo>
                  <a:lnTo>
                    <a:pt x="3464" y="48"/>
                  </a:lnTo>
                  <a:lnTo>
                    <a:pt x="3462" y="48"/>
                  </a:lnTo>
                  <a:lnTo>
                    <a:pt x="3462" y="48"/>
                  </a:lnTo>
                  <a:lnTo>
                    <a:pt x="3460" y="48"/>
                  </a:lnTo>
                  <a:lnTo>
                    <a:pt x="3460" y="48"/>
                  </a:lnTo>
                  <a:lnTo>
                    <a:pt x="3456" y="48"/>
                  </a:lnTo>
                  <a:lnTo>
                    <a:pt x="3456" y="48"/>
                  </a:lnTo>
                  <a:lnTo>
                    <a:pt x="3452" y="48"/>
                  </a:lnTo>
                  <a:lnTo>
                    <a:pt x="3452" y="48"/>
                  </a:lnTo>
                  <a:lnTo>
                    <a:pt x="3448" y="48"/>
                  </a:lnTo>
                  <a:lnTo>
                    <a:pt x="3448" y="48"/>
                  </a:lnTo>
                  <a:lnTo>
                    <a:pt x="3446" y="48"/>
                  </a:lnTo>
                  <a:lnTo>
                    <a:pt x="3446" y="48"/>
                  </a:lnTo>
                  <a:lnTo>
                    <a:pt x="3442" y="48"/>
                  </a:lnTo>
                  <a:lnTo>
                    <a:pt x="3442" y="48"/>
                  </a:lnTo>
                  <a:lnTo>
                    <a:pt x="3440" y="48"/>
                  </a:lnTo>
                  <a:lnTo>
                    <a:pt x="3440" y="48"/>
                  </a:lnTo>
                  <a:lnTo>
                    <a:pt x="3438" y="48"/>
                  </a:lnTo>
                  <a:lnTo>
                    <a:pt x="3438" y="48"/>
                  </a:lnTo>
                  <a:lnTo>
                    <a:pt x="3436" y="48"/>
                  </a:lnTo>
                  <a:lnTo>
                    <a:pt x="3436" y="48"/>
                  </a:lnTo>
                  <a:lnTo>
                    <a:pt x="3434" y="46"/>
                  </a:lnTo>
                  <a:lnTo>
                    <a:pt x="3434" y="46"/>
                  </a:lnTo>
                  <a:lnTo>
                    <a:pt x="3430" y="46"/>
                  </a:lnTo>
                  <a:lnTo>
                    <a:pt x="3430" y="46"/>
                  </a:lnTo>
                  <a:lnTo>
                    <a:pt x="3422" y="46"/>
                  </a:lnTo>
                  <a:lnTo>
                    <a:pt x="3422" y="46"/>
                  </a:lnTo>
                  <a:lnTo>
                    <a:pt x="3420" y="48"/>
                  </a:lnTo>
                  <a:lnTo>
                    <a:pt x="3420" y="48"/>
                  </a:lnTo>
                  <a:lnTo>
                    <a:pt x="3418" y="48"/>
                  </a:lnTo>
                  <a:lnTo>
                    <a:pt x="3418" y="48"/>
                  </a:lnTo>
                  <a:lnTo>
                    <a:pt x="3412" y="48"/>
                  </a:lnTo>
                  <a:lnTo>
                    <a:pt x="3412" y="48"/>
                  </a:lnTo>
                  <a:lnTo>
                    <a:pt x="3408" y="48"/>
                  </a:lnTo>
                  <a:lnTo>
                    <a:pt x="3408" y="48"/>
                  </a:lnTo>
                  <a:lnTo>
                    <a:pt x="3406" y="48"/>
                  </a:lnTo>
                  <a:lnTo>
                    <a:pt x="3406" y="48"/>
                  </a:lnTo>
                  <a:lnTo>
                    <a:pt x="3404" y="46"/>
                  </a:lnTo>
                  <a:lnTo>
                    <a:pt x="3404" y="46"/>
                  </a:lnTo>
                  <a:lnTo>
                    <a:pt x="3398" y="48"/>
                  </a:lnTo>
                  <a:lnTo>
                    <a:pt x="3398" y="48"/>
                  </a:lnTo>
                  <a:lnTo>
                    <a:pt x="3396" y="48"/>
                  </a:lnTo>
                  <a:lnTo>
                    <a:pt x="3396" y="48"/>
                  </a:lnTo>
                  <a:lnTo>
                    <a:pt x="3396" y="48"/>
                  </a:lnTo>
                  <a:lnTo>
                    <a:pt x="3396" y="48"/>
                  </a:lnTo>
                  <a:lnTo>
                    <a:pt x="3388" y="46"/>
                  </a:lnTo>
                  <a:lnTo>
                    <a:pt x="3388" y="46"/>
                  </a:lnTo>
                  <a:lnTo>
                    <a:pt x="3386" y="48"/>
                  </a:lnTo>
                  <a:lnTo>
                    <a:pt x="3386" y="48"/>
                  </a:lnTo>
                  <a:lnTo>
                    <a:pt x="3382" y="48"/>
                  </a:lnTo>
                  <a:lnTo>
                    <a:pt x="3382" y="48"/>
                  </a:lnTo>
                  <a:lnTo>
                    <a:pt x="3380" y="50"/>
                  </a:lnTo>
                  <a:lnTo>
                    <a:pt x="3380" y="50"/>
                  </a:lnTo>
                  <a:lnTo>
                    <a:pt x="3376" y="50"/>
                  </a:lnTo>
                  <a:lnTo>
                    <a:pt x="3376" y="50"/>
                  </a:lnTo>
                  <a:lnTo>
                    <a:pt x="3376" y="50"/>
                  </a:lnTo>
                  <a:lnTo>
                    <a:pt x="3376" y="50"/>
                  </a:lnTo>
                  <a:lnTo>
                    <a:pt x="3374" y="50"/>
                  </a:lnTo>
                  <a:lnTo>
                    <a:pt x="3374" y="50"/>
                  </a:lnTo>
                  <a:lnTo>
                    <a:pt x="3374" y="50"/>
                  </a:lnTo>
                  <a:lnTo>
                    <a:pt x="3374" y="50"/>
                  </a:lnTo>
                  <a:lnTo>
                    <a:pt x="3374" y="50"/>
                  </a:lnTo>
                  <a:lnTo>
                    <a:pt x="3374" y="50"/>
                  </a:lnTo>
                  <a:lnTo>
                    <a:pt x="3372" y="50"/>
                  </a:lnTo>
                  <a:lnTo>
                    <a:pt x="3372" y="50"/>
                  </a:lnTo>
                  <a:lnTo>
                    <a:pt x="3370" y="50"/>
                  </a:lnTo>
                  <a:lnTo>
                    <a:pt x="3370" y="50"/>
                  </a:lnTo>
                  <a:lnTo>
                    <a:pt x="3366" y="50"/>
                  </a:lnTo>
                  <a:lnTo>
                    <a:pt x="3366" y="50"/>
                  </a:lnTo>
                  <a:lnTo>
                    <a:pt x="3362" y="50"/>
                  </a:lnTo>
                  <a:lnTo>
                    <a:pt x="3362" y="50"/>
                  </a:lnTo>
                  <a:lnTo>
                    <a:pt x="3362" y="50"/>
                  </a:lnTo>
                  <a:lnTo>
                    <a:pt x="3362" y="50"/>
                  </a:lnTo>
                  <a:lnTo>
                    <a:pt x="3360" y="50"/>
                  </a:lnTo>
                  <a:lnTo>
                    <a:pt x="3360" y="50"/>
                  </a:lnTo>
                  <a:lnTo>
                    <a:pt x="3358" y="50"/>
                  </a:lnTo>
                  <a:lnTo>
                    <a:pt x="3356" y="50"/>
                  </a:lnTo>
                  <a:lnTo>
                    <a:pt x="3356" y="50"/>
                  </a:lnTo>
                  <a:lnTo>
                    <a:pt x="3350" y="48"/>
                  </a:lnTo>
                  <a:lnTo>
                    <a:pt x="3350" y="48"/>
                  </a:lnTo>
                  <a:lnTo>
                    <a:pt x="3350" y="48"/>
                  </a:lnTo>
                  <a:lnTo>
                    <a:pt x="3350" y="48"/>
                  </a:lnTo>
                  <a:lnTo>
                    <a:pt x="3344" y="48"/>
                  </a:lnTo>
                  <a:lnTo>
                    <a:pt x="3344" y="48"/>
                  </a:lnTo>
                  <a:lnTo>
                    <a:pt x="3344" y="48"/>
                  </a:lnTo>
                  <a:lnTo>
                    <a:pt x="3344" y="48"/>
                  </a:lnTo>
                  <a:lnTo>
                    <a:pt x="3344" y="48"/>
                  </a:lnTo>
                  <a:lnTo>
                    <a:pt x="3344" y="48"/>
                  </a:lnTo>
                  <a:lnTo>
                    <a:pt x="3340" y="48"/>
                  </a:lnTo>
                  <a:lnTo>
                    <a:pt x="3340" y="48"/>
                  </a:lnTo>
                  <a:lnTo>
                    <a:pt x="3332" y="48"/>
                  </a:lnTo>
                  <a:lnTo>
                    <a:pt x="3332" y="48"/>
                  </a:lnTo>
                  <a:lnTo>
                    <a:pt x="3328" y="46"/>
                  </a:lnTo>
                  <a:lnTo>
                    <a:pt x="3328" y="46"/>
                  </a:lnTo>
                  <a:lnTo>
                    <a:pt x="3324" y="44"/>
                  </a:lnTo>
                  <a:lnTo>
                    <a:pt x="3324" y="44"/>
                  </a:lnTo>
                  <a:lnTo>
                    <a:pt x="3322" y="44"/>
                  </a:lnTo>
                  <a:lnTo>
                    <a:pt x="3322" y="44"/>
                  </a:lnTo>
                  <a:lnTo>
                    <a:pt x="3322" y="44"/>
                  </a:lnTo>
                  <a:lnTo>
                    <a:pt x="3318" y="44"/>
                  </a:lnTo>
                  <a:lnTo>
                    <a:pt x="3318" y="44"/>
                  </a:lnTo>
                  <a:lnTo>
                    <a:pt x="3318" y="46"/>
                  </a:lnTo>
                  <a:lnTo>
                    <a:pt x="3318" y="46"/>
                  </a:lnTo>
                  <a:lnTo>
                    <a:pt x="3318" y="46"/>
                  </a:lnTo>
                  <a:lnTo>
                    <a:pt x="3318" y="46"/>
                  </a:lnTo>
                  <a:lnTo>
                    <a:pt x="3318" y="46"/>
                  </a:lnTo>
                  <a:lnTo>
                    <a:pt x="3318" y="46"/>
                  </a:lnTo>
                  <a:lnTo>
                    <a:pt x="3316" y="46"/>
                  </a:lnTo>
                  <a:lnTo>
                    <a:pt x="3316" y="46"/>
                  </a:lnTo>
                  <a:lnTo>
                    <a:pt x="3312" y="48"/>
                  </a:lnTo>
                  <a:lnTo>
                    <a:pt x="3312" y="48"/>
                  </a:lnTo>
                  <a:lnTo>
                    <a:pt x="3312" y="48"/>
                  </a:lnTo>
                  <a:lnTo>
                    <a:pt x="3312" y="48"/>
                  </a:lnTo>
                  <a:lnTo>
                    <a:pt x="3312" y="48"/>
                  </a:lnTo>
                  <a:lnTo>
                    <a:pt x="3312" y="48"/>
                  </a:lnTo>
                  <a:lnTo>
                    <a:pt x="3310" y="48"/>
                  </a:lnTo>
                  <a:lnTo>
                    <a:pt x="3310" y="48"/>
                  </a:lnTo>
                  <a:lnTo>
                    <a:pt x="3310" y="48"/>
                  </a:lnTo>
                  <a:lnTo>
                    <a:pt x="3310" y="48"/>
                  </a:lnTo>
                  <a:lnTo>
                    <a:pt x="3310" y="48"/>
                  </a:lnTo>
                  <a:lnTo>
                    <a:pt x="3310" y="48"/>
                  </a:lnTo>
                  <a:lnTo>
                    <a:pt x="3308" y="48"/>
                  </a:lnTo>
                  <a:lnTo>
                    <a:pt x="3308" y="48"/>
                  </a:lnTo>
                  <a:lnTo>
                    <a:pt x="3306" y="48"/>
                  </a:lnTo>
                  <a:lnTo>
                    <a:pt x="3306" y="48"/>
                  </a:lnTo>
                  <a:lnTo>
                    <a:pt x="3304" y="48"/>
                  </a:lnTo>
                  <a:lnTo>
                    <a:pt x="3304" y="48"/>
                  </a:lnTo>
                  <a:lnTo>
                    <a:pt x="3304" y="48"/>
                  </a:lnTo>
                  <a:lnTo>
                    <a:pt x="3304" y="48"/>
                  </a:lnTo>
                  <a:lnTo>
                    <a:pt x="3302" y="46"/>
                  </a:lnTo>
                  <a:lnTo>
                    <a:pt x="3302" y="46"/>
                  </a:lnTo>
                  <a:lnTo>
                    <a:pt x="3302" y="48"/>
                  </a:lnTo>
                  <a:lnTo>
                    <a:pt x="3302" y="48"/>
                  </a:lnTo>
                  <a:lnTo>
                    <a:pt x="3298" y="46"/>
                  </a:lnTo>
                  <a:lnTo>
                    <a:pt x="3298" y="46"/>
                  </a:lnTo>
                  <a:lnTo>
                    <a:pt x="3294" y="44"/>
                  </a:lnTo>
                  <a:lnTo>
                    <a:pt x="3290" y="44"/>
                  </a:lnTo>
                  <a:lnTo>
                    <a:pt x="3282" y="46"/>
                  </a:lnTo>
                  <a:lnTo>
                    <a:pt x="3282" y="46"/>
                  </a:lnTo>
                  <a:lnTo>
                    <a:pt x="3276" y="44"/>
                  </a:lnTo>
                  <a:lnTo>
                    <a:pt x="3276" y="44"/>
                  </a:lnTo>
                  <a:lnTo>
                    <a:pt x="3268" y="44"/>
                  </a:lnTo>
                  <a:lnTo>
                    <a:pt x="3268" y="44"/>
                  </a:lnTo>
                  <a:lnTo>
                    <a:pt x="3266" y="44"/>
                  </a:lnTo>
                  <a:lnTo>
                    <a:pt x="3266" y="44"/>
                  </a:lnTo>
                  <a:lnTo>
                    <a:pt x="3262" y="44"/>
                  </a:lnTo>
                  <a:lnTo>
                    <a:pt x="3262" y="44"/>
                  </a:lnTo>
                  <a:lnTo>
                    <a:pt x="3262" y="44"/>
                  </a:lnTo>
                  <a:lnTo>
                    <a:pt x="3262" y="44"/>
                  </a:lnTo>
                  <a:lnTo>
                    <a:pt x="3262" y="44"/>
                  </a:lnTo>
                  <a:lnTo>
                    <a:pt x="3262" y="44"/>
                  </a:lnTo>
                  <a:lnTo>
                    <a:pt x="3260" y="44"/>
                  </a:lnTo>
                  <a:lnTo>
                    <a:pt x="3260" y="44"/>
                  </a:lnTo>
                  <a:lnTo>
                    <a:pt x="3260" y="44"/>
                  </a:lnTo>
                  <a:lnTo>
                    <a:pt x="3260" y="44"/>
                  </a:lnTo>
                  <a:lnTo>
                    <a:pt x="3256" y="44"/>
                  </a:lnTo>
                  <a:lnTo>
                    <a:pt x="3256" y="44"/>
                  </a:lnTo>
                  <a:lnTo>
                    <a:pt x="3254" y="44"/>
                  </a:lnTo>
                  <a:lnTo>
                    <a:pt x="3254" y="44"/>
                  </a:lnTo>
                  <a:lnTo>
                    <a:pt x="3250" y="42"/>
                  </a:lnTo>
                  <a:lnTo>
                    <a:pt x="3248" y="42"/>
                  </a:lnTo>
                  <a:lnTo>
                    <a:pt x="3248" y="42"/>
                  </a:lnTo>
                  <a:lnTo>
                    <a:pt x="3246" y="44"/>
                  </a:lnTo>
                  <a:lnTo>
                    <a:pt x="3246" y="44"/>
                  </a:lnTo>
                  <a:lnTo>
                    <a:pt x="3244" y="44"/>
                  </a:lnTo>
                  <a:lnTo>
                    <a:pt x="3244" y="44"/>
                  </a:lnTo>
                  <a:lnTo>
                    <a:pt x="3238" y="44"/>
                  </a:lnTo>
                  <a:lnTo>
                    <a:pt x="3238" y="44"/>
                  </a:lnTo>
                  <a:lnTo>
                    <a:pt x="3234" y="44"/>
                  </a:lnTo>
                  <a:lnTo>
                    <a:pt x="3234" y="44"/>
                  </a:lnTo>
                  <a:lnTo>
                    <a:pt x="3230" y="44"/>
                  </a:lnTo>
                  <a:lnTo>
                    <a:pt x="3230" y="44"/>
                  </a:lnTo>
                  <a:lnTo>
                    <a:pt x="3226" y="44"/>
                  </a:lnTo>
                  <a:lnTo>
                    <a:pt x="3226" y="44"/>
                  </a:lnTo>
                  <a:lnTo>
                    <a:pt x="3222" y="46"/>
                  </a:lnTo>
                  <a:lnTo>
                    <a:pt x="3222" y="46"/>
                  </a:lnTo>
                  <a:lnTo>
                    <a:pt x="3218" y="44"/>
                  </a:lnTo>
                  <a:lnTo>
                    <a:pt x="3218" y="44"/>
                  </a:lnTo>
                  <a:lnTo>
                    <a:pt x="3212" y="44"/>
                  </a:lnTo>
                  <a:lnTo>
                    <a:pt x="3212" y="44"/>
                  </a:lnTo>
                  <a:lnTo>
                    <a:pt x="3202" y="46"/>
                  </a:lnTo>
                  <a:lnTo>
                    <a:pt x="3202" y="46"/>
                  </a:lnTo>
                  <a:lnTo>
                    <a:pt x="3198" y="44"/>
                  </a:lnTo>
                  <a:lnTo>
                    <a:pt x="3198" y="44"/>
                  </a:lnTo>
                  <a:lnTo>
                    <a:pt x="3194" y="44"/>
                  </a:lnTo>
                  <a:lnTo>
                    <a:pt x="3194" y="44"/>
                  </a:lnTo>
                  <a:lnTo>
                    <a:pt x="3190" y="44"/>
                  </a:lnTo>
                  <a:lnTo>
                    <a:pt x="3190" y="44"/>
                  </a:lnTo>
                  <a:lnTo>
                    <a:pt x="3186" y="44"/>
                  </a:lnTo>
                  <a:lnTo>
                    <a:pt x="3186" y="44"/>
                  </a:lnTo>
                  <a:lnTo>
                    <a:pt x="3180" y="44"/>
                  </a:lnTo>
                  <a:lnTo>
                    <a:pt x="3180" y="44"/>
                  </a:lnTo>
                  <a:lnTo>
                    <a:pt x="3176" y="42"/>
                  </a:lnTo>
                  <a:lnTo>
                    <a:pt x="3176" y="42"/>
                  </a:lnTo>
                  <a:lnTo>
                    <a:pt x="3176" y="42"/>
                  </a:lnTo>
                  <a:lnTo>
                    <a:pt x="3176" y="42"/>
                  </a:lnTo>
                  <a:lnTo>
                    <a:pt x="3172" y="42"/>
                  </a:lnTo>
                  <a:lnTo>
                    <a:pt x="3172" y="42"/>
                  </a:lnTo>
                  <a:lnTo>
                    <a:pt x="3168" y="40"/>
                  </a:lnTo>
                  <a:lnTo>
                    <a:pt x="3168" y="40"/>
                  </a:lnTo>
                  <a:lnTo>
                    <a:pt x="3162" y="38"/>
                  </a:lnTo>
                  <a:lnTo>
                    <a:pt x="3162" y="38"/>
                  </a:lnTo>
                  <a:lnTo>
                    <a:pt x="3158" y="40"/>
                  </a:lnTo>
                  <a:lnTo>
                    <a:pt x="3158" y="40"/>
                  </a:lnTo>
                  <a:lnTo>
                    <a:pt x="3156" y="40"/>
                  </a:lnTo>
                  <a:lnTo>
                    <a:pt x="3156" y="40"/>
                  </a:lnTo>
                  <a:lnTo>
                    <a:pt x="3154" y="40"/>
                  </a:lnTo>
                  <a:lnTo>
                    <a:pt x="3154" y="40"/>
                  </a:lnTo>
                  <a:lnTo>
                    <a:pt x="3152" y="40"/>
                  </a:lnTo>
                  <a:lnTo>
                    <a:pt x="3152" y="40"/>
                  </a:lnTo>
                  <a:lnTo>
                    <a:pt x="3146" y="40"/>
                  </a:lnTo>
                  <a:lnTo>
                    <a:pt x="3146" y="40"/>
                  </a:lnTo>
                  <a:lnTo>
                    <a:pt x="3146" y="40"/>
                  </a:lnTo>
                  <a:lnTo>
                    <a:pt x="3146" y="40"/>
                  </a:lnTo>
                  <a:lnTo>
                    <a:pt x="3146" y="38"/>
                  </a:lnTo>
                  <a:lnTo>
                    <a:pt x="3146" y="38"/>
                  </a:lnTo>
                  <a:lnTo>
                    <a:pt x="3146" y="36"/>
                  </a:lnTo>
                  <a:lnTo>
                    <a:pt x="3144" y="36"/>
                  </a:lnTo>
                  <a:lnTo>
                    <a:pt x="3144" y="36"/>
                  </a:lnTo>
                  <a:lnTo>
                    <a:pt x="3138" y="36"/>
                  </a:lnTo>
                  <a:lnTo>
                    <a:pt x="3138" y="36"/>
                  </a:lnTo>
                  <a:lnTo>
                    <a:pt x="3136" y="38"/>
                  </a:lnTo>
                  <a:lnTo>
                    <a:pt x="3136" y="38"/>
                  </a:lnTo>
                  <a:lnTo>
                    <a:pt x="3134" y="38"/>
                  </a:lnTo>
                  <a:lnTo>
                    <a:pt x="3134" y="38"/>
                  </a:lnTo>
                  <a:lnTo>
                    <a:pt x="3130" y="38"/>
                  </a:lnTo>
                  <a:lnTo>
                    <a:pt x="3130" y="38"/>
                  </a:lnTo>
                  <a:lnTo>
                    <a:pt x="3128" y="38"/>
                  </a:lnTo>
                  <a:lnTo>
                    <a:pt x="3128" y="38"/>
                  </a:lnTo>
                  <a:lnTo>
                    <a:pt x="3120" y="40"/>
                  </a:lnTo>
                  <a:lnTo>
                    <a:pt x="3120" y="40"/>
                  </a:lnTo>
                  <a:lnTo>
                    <a:pt x="3112" y="40"/>
                  </a:lnTo>
                  <a:lnTo>
                    <a:pt x="3112" y="40"/>
                  </a:lnTo>
                  <a:lnTo>
                    <a:pt x="3110" y="42"/>
                  </a:lnTo>
                  <a:lnTo>
                    <a:pt x="3110" y="42"/>
                  </a:lnTo>
                  <a:lnTo>
                    <a:pt x="3108" y="42"/>
                  </a:lnTo>
                  <a:lnTo>
                    <a:pt x="3108" y="42"/>
                  </a:lnTo>
                  <a:lnTo>
                    <a:pt x="3106" y="42"/>
                  </a:lnTo>
                  <a:lnTo>
                    <a:pt x="3106" y="42"/>
                  </a:lnTo>
                  <a:lnTo>
                    <a:pt x="3106" y="44"/>
                  </a:lnTo>
                  <a:lnTo>
                    <a:pt x="3106" y="44"/>
                  </a:lnTo>
                  <a:lnTo>
                    <a:pt x="3104" y="42"/>
                  </a:lnTo>
                  <a:lnTo>
                    <a:pt x="3104" y="42"/>
                  </a:lnTo>
                  <a:lnTo>
                    <a:pt x="3102" y="44"/>
                  </a:lnTo>
                  <a:lnTo>
                    <a:pt x="3102" y="44"/>
                  </a:lnTo>
                  <a:lnTo>
                    <a:pt x="3102" y="42"/>
                  </a:lnTo>
                  <a:lnTo>
                    <a:pt x="3102" y="42"/>
                  </a:lnTo>
                  <a:lnTo>
                    <a:pt x="3100" y="42"/>
                  </a:lnTo>
                  <a:lnTo>
                    <a:pt x="3100" y="42"/>
                  </a:lnTo>
                  <a:lnTo>
                    <a:pt x="3096" y="42"/>
                  </a:lnTo>
                  <a:lnTo>
                    <a:pt x="3096" y="42"/>
                  </a:lnTo>
                  <a:lnTo>
                    <a:pt x="3094" y="42"/>
                  </a:lnTo>
                  <a:lnTo>
                    <a:pt x="3090" y="42"/>
                  </a:lnTo>
                  <a:lnTo>
                    <a:pt x="3090" y="42"/>
                  </a:lnTo>
                  <a:lnTo>
                    <a:pt x="3090" y="42"/>
                  </a:lnTo>
                  <a:lnTo>
                    <a:pt x="3090" y="42"/>
                  </a:lnTo>
                  <a:lnTo>
                    <a:pt x="3090" y="42"/>
                  </a:lnTo>
                  <a:lnTo>
                    <a:pt x="3090" y="42"/>
                  </a:lnTo>
                  <a:lnTo>
                    <a:pt x="3088" y="42"/>
                  </a:lnTo>
                  <a:lnTo>
                    <a:pt x="3088" y="42"/>
                  </a:lnTo>
                  <a:lnTo>
                    <a:pt x="3086" y="42"/>
                  </a:lnTo>
                  <a:lnTo>
                    <a:pt x="3086" y="42"/>
                  </a:lnTo>
                  <a:lnTo>
                    <a:pt x="3082" y="42"/>
                  </a:lnTo>
                  <a:lnTo>
                    <a:pt x="3082" y="42"/>
                  </a:lnTo>
                  <a:lnTo>
                    <a:pt x="3080" y="40"/>
                  </a:lnTo>
                  <a:lnTo>
                    <a:pt x="3080" y="40"/>
                  </a:lnTo>
                  <a:lnTo>
                    <a:pt x="3078" y="42"/>
                  </a:lnTo>
                  <a:lnTo>
                    <a:pt x="3078" y="42"/>
                  </a:lnTo>
                  <a:lnTo>
                    <a:pt x="3076" y="42"/>
                  </a:lnTo>
                  <a:lnTo>
                    <a:pt x="3076" y="42"/>
                  </a:lnTo>
                  <a:lnTo>
                    <a:pt x="3076" y="42"/>
                  </a:lnTo>
                  <a:lnTo>
                    <a:pt x="3076" y="42"/>
                  </a:lnTo>
                  <a:lnTo>
                    <a:pt x="3072" y="42"/>
                  </a:lnTo>
                  <a:lnTo>
                    <a:pt x="3072" y="42"/>
                  </a:lnTo>
                  <a:lnTo>
                    <a:pt x="3070" y="42"/>
                  </a:lnTo>
                  <a:lnTo>
                    <a:pt x="3070" y="42"/>
                  </a:lnTo>
                  <a:lnTo>
                    <a:pt x="3070" y="42"/>
                  </a:lnTo>
                  <a:lnTo>
                    <a:pt x="3070" y="42"/>
                  </a:lnTo>
                  <a:lnTo>
                    <a:pt x="3066" y="40"/>
                  </a:lnTo>
                  <a:lnTo>
                    <a:pt x="3066" y="40"/>
                  </a:lnTo>
                  <a:lnTo>
                    <a:pt x="3058" y="42"/>
                  </a:lnTo>
                  <a:lnTo>
                    <a:pt x="3052" y="40"/>
                  </a:lnTo>
                  <a:lnTo>
                    <a:pt x="3052" y="40"/>
                  </a:lnTo>
                  <a:lnTo>
                    <a:pt x="3050" y="40"/>
                  </a:lnTo>
                  <a:lnTo>
                    <a:pt x="3050" y="40"/>
                  </a:lnTo>
                  <a:lnTo>
                    <a:pt x="3044" y="42"/>
                  </a:lnTo>
                  <a:lnTo>
                    <a:pt x="3044" y="42"/>
                  </a:lnTo>
                  <a:lnTo>
                    <a:pt x="3044" y="42"/>
                  </a:lnTo>
                  <a:lnTo>
                    <a:pt x="3044" y="42"/>
                  </a:lnTo>
                  <a:lnTo>
                    <a:pt x="3044" y="42"/>
                  </a:lnTo>
                  <a:lnTo>
                    <a:pt x="3044" y="42"/>
                  </a:lnTo>
                  <a:lnTo>
                    <a:pt x="3042" y="42"/>
                  </a:lnTo>
                  <a:lnTo>
                    <a:pt x="3042" y="42"/>
                  </a:lnTo>
                  <a:lnTo>
                    <a:pt x="3042" y="42"/>
                  </a:lnTo>
                  <a:lnTo>
                    <a:pt x="3042" y="42"/>
                  </a:lnTo>
                  <a:lnTo>
                    <a:pt x="3040" y="42"/>
                  </a:lnTo>
                  <a:lnTo>
                    <a:pt x="3040" y="42"/>
                  </a:lnTo>
                  <a:lnTo>
                    <a:pt x="3040" y="40"/>
                  </a:lnTo>
                  <a:lnTo>
                    <a:pt x="3040" y="40"/>
                  </a:lnTo>
                  <a:lnTo>
                    <a:pt x="3036" y="42"/>
                  </a:lnTo>
                  <a:lnTo>
                    <a:pt x="3036" y="42"/>
                  </a:lnTo>
                  <a:lnTo>
                    <a:pt x="3032" y="42"/>
                  </a:lnTo>
                  <a:lnTo>
                    <a:pt x="3032" y="42"/>
                  </a:lnTo>
                  <a:lnTo>
                    <a:pt x="3030" y="42"/>
                  </a:lnTo>
                  <a:lnTo>
                    <a:pt x="3030" y="42"/>
                  </a:lnTo>
                  <a:lnTo>
                    <a:pt x="3024" y="42"/>
                  </a:lnTo>
                  <a:lnTo>
                    <a:pt x="3024" y="42"/>
                  </a:lnTo>
                  <a:lnTo>
                    <a:pt x="3024" y="42"/>
                  </a:lnTo>
                  <a:lnTo>
                    <a:pt x="3022" y="42"/>
                  </a:lnTo>
                  <a:lnTo>
                    <a:pt x="3022" y="42"/>
                  </a:lnTo>
                  <a:lnTo>
                    <a:pt x="3020" y="42"/>
                  </a:lnTo>
                  <a:lnTo>
                    <a:pt x="3020" y="42"/>
                  </a:lnTo>
                  <a:lnTo>
                    <a:pt x="3014" y="42"/>
                  </a:lnTo>
                  <a:lnTo>
                    <a:pt x="3008" y="42"/>
                  </a:lnTo>
                  <a:lnTo>
                    <a:pt x="3008" y="42"/>
                  </a:lnTo>
                  <a:lnTo>
                    <a:pt x="3006" y="40"/>
                  </a:lnTo>
                  <a:lnTo>
                    <a:pt x="3004" y="42"/>
                  </a:lnTo>
                  <a:lnTo>
                    <a:pt x="3004" y="42"/>
                  </a:lnTo>
                  <a:lnTo>
                    <a:pt x="3002" y="40"/>
                  </a:lnTo>
                  <a:lnTo>
                    <a:pt x="3002" y="40"/>
                  </a:lnTo>
                  <a:lnTo>
                    <a:pt x="2998" y="40"/>
                  </a:lnTo>
                  <a:lnTo>
                    <a:pt x="2996" y="40"/>
                  </a:lnTo>
                  <a:lnTo>
                    <a:pt x="2996" y="40"/>
                  </a:lnTo>
                  <a:lnTo>
                    <a:pt x="2994" y="38"/>
                  </a:lnTo>
                  <a:lnTo>
                    <a:pt x="2994" y="38"/>
                  </a:lnTo>
                  <a:lnTo>
                    <a:pt x="2986" y="38"/>
                  </a:lnTo>
                  <a:lnTo>
                    <a:pt x="2986" y="38"/>
                  </a:lnTo>
                  <a:lnTo>
                    <a:pt x="2980" y="38"/>
                  </a:lnTo>
                  <a:lnTo>
                    <a:pt x="2976" y="38"/>
                  </a:lnTo>
                  <a:lnTo>
                    <a:pt x="2976" y="38"/>
                  </a:lnTo>
                  <a:lnTo>
                    <a:pt x="2972" y="38"/>
                  </a:lnTo>
                  <a:lnTo>
                    <a:pt x="2972" y="38"/>
                  </a:lnTo>
                  <a:lnTo>
                    <a:pt x="2970" y="38"/>
                  </a:lnTo>
                  <a:lnTo>
                    <a:pt x="2970" y="38"/>
                  </a:lnTo>
                  <a:lnTo>
                    <a:pt x="2962" y="40"/>
                  </a:lnTo>
                  <a:lnTo>
                    <a:pt x="2962" y="40"/>
                  </a:lnTo>
                  <a:lnTo>
                    <a:pt x="2954" y="38"/>
                  </a:lnTo>
                  <a:lnTo>
                    <a:pt x="2954" y="38"/>
                  </a:lnTo>
                  <a:lnTo>
                    <a:pt x="2946" y="40"/>
                  </a:lnTo>
                  <a:lnTo>
                    <a:pt x="2946" y="40"/>
                  </a:lnTo>
                  <a:lnTo>
                    <a:pt x="2942" y="38"/>
                  </a:lnTo>
                  <a:lnTo>
                    <a:pt x="2942" y="38"/>
                  </a:lnTo>
                  <a:lnTo>
                    <a:pt x="2940" y="38"/>
                  </a:lnTo>
                  <a:lnTo>
                    <a:pt x="2940" y="38"/>
                  </a:lnTo>
                  <a:lnTo>
                    <a:pt x="2934" y="36"/>
                  </a:lnTo>
                  <a:lnTo>
                    <a:pt x="2934" y="36"/>
                  </a:lnTo>
                  <a:lnTo>
                    <a:pt x="2934" y="36"/>
                  </a:lnTo>
                  <a:lnTo>
                    <a:pt x="2934" y="36"/>
                  </a:lnTo>
                  <a:lnTo>
                    <a:pt x="2934" y="36"/>
                  </a:lnTo>
                  <a:lnTo>
                    <a:pt x="2934" y="36"/>
                  </a:lnTo>
                  <a:lnTo>
                    <a:pt x="2932" y="36"/>
                  </a:lnTo>
                  <a:lnTo>
                    <a:pt x="2932" y="36"/>
                  </a:lnTo>
                  <a:lnTo>
                    <a:pt x="2930" y="36"/>
                  </a:lnTo>
                  <a:lnTo>
                    <a:pt x="2930" y="36"/>
                  </a:lnTo>
                  <a:lnTo>
                    <a:pt x="2926" y="36"/>
                  </a:lnTo>
                  <a:lnTo>
                    <a:pt x="2926" y="36"/>
                  </a:lnTo>
                  <a:lnTo>
                    <a:pt x="2920" y="36"/>
                  </a:lnTo>
                  <a:lnTo>
                    <a:pt x="2920" y="36"/>
                  </a:lnTo>
                  <a:lnTo>
                    <a:pt x="2920" y="36"/>
                  </a:lnTo>
                  <a:lnTo>
                    <a:pt x="2920" y="36"/>
                  </a:lnTo>
                  <a:lnTo>
                    <a:pt x="2918" y="38"/>
                  </a:lnTo>
                  <a:lnTo>
                    <a:pt x="2918" y="38"/>
                  </a:lnTo>
                  <a:lnTo>
                    <a:pt x="2914" y="38"/>
                  </a:lnTo>
                  <a:lnTo>
                    <a:pt x="2914" y="38"/>
                  </a:lnTo>
                  <a:lnTo>
                    <a:pt x="2910" y="36"/>
                  </a:lnTo>
                  <a:lnTo>
                    <a:pt x="2910" y="36"/>
                  </a:lnTo>
                  <a:lnTo>
                    <a:pt x="2904" y="36"/>
                  </a:lnTo>
                  <a:lnTo>
                    <a:pt x="2904" y="36"/>
                  </a:lnTo>
                  <a:lnTo>
                    <a:pt x="2902" y="36"/>
                  </a:lnTo>
                  <a:lnTo>
                    <a:pt x="2902" y="36"/>
                  </a:lnTo>
                  <a:lnTo>
                    <a:pt x="2902" y="36"/>
                  </a:lnTo>
                  <a:lnTo>
                    <a:pt x="2902" y="36"/>
                  </a:lnTo>
                  <a:lnTo>
                    <a:pt x="2900" y="36"/>
                  </a:lnTo>
                  <a:lnTo>
                    <a:pt x="2900" y="36"/>
                  </a:lnTo>
                  <a:lnTo>
                    <a:pt x="2898" y="36"/>
                  </a:lnTo>
                  <a:lnTo>
                    <a:pt x="2898" y="36"/>
                  </a:lnTo>
                  <a:lnTo>
                    <a:pt x="2898" y="36"/>
                  </a:lnTo>
                  <a:lnTo>
                    <a:pt x="2898" y="36"/>
                  </a:lnTo>
                  <a:lnTo>
                    <a:pt x="2898" y="34"/>
                  </a:lnTo>
                  <a:lnTo>
                    <a:pt x="2898" y="34"/>
                  </a:lnTo>
                  <a:lnTo>
                    <a:pt x="2896" y="34"/>
                  </a:lnTo>
                  <a:lnTo>
                    <a:pt x="2896" y="34"/>
                  </a:lnTo>
                  <a:lnTo>
                    <a:pt x="2892" y="34"/>
                  </a:lnTo>
                  <a:lnTo>
                    <a:pt x="2892" y="34"/>
                  </a:lnTo>
                  <a:lnTo>
                    <a:pt x="2892" y="34"/>
                  </a:lnTo>
                  <a:lnTo>
                    <a:pt x="2892" y="36"/>
                  </a:lnTo>
                  <a:lnTo>
                    <a:pt x="2892" y="36"/>
                  </a:lnTo>
                  <a:lnTo>
                    <a:pt x="2892" y="36"/>
                  </a:lnTo>
                  <a:lnTo>
                    <a:pt x="2892" y="36"/>
                  </a:lnTo>
                  <a:lnTo>
                    <a:pt x="2892" y="36"/>
                  </a:lnTo>
                  <a:lnTo>
                    <a:pt x="2890" y="36"/>
                  </a:lnTo>
                  <a:lnTo>
                    <a:pt x="2890" y="36"/>
                  </a:lnTo>
                  <a:lnTo>
                    <a:pt x="2888" y="36"/>
                  </a:lnTo>
                  <a:lnTo>
                    <a:pt x="2888" y="36"/>
                  </a:lnTo>
                  <a:lnTo>
                    <a:pt x="2886" y="36"/>
                  </a:lnTo>
                  <a:lnTo>
                    <a:pt x="2886" y="36"/>
                  </a:lnTo>
                  <a:lnTo>
                    <a:pt x="2884" y="36"/>
                  </a:lnTo>
                  <a:lnTo>
                    <a:pt x="2884" y="36"/>
                  </a:lnTo>
                  <a:lnTo>
                    <a:pt x="2878" y="36"/>
                  </a:lnTo>
                  <a:lnTo>
                    <a:pt x="2878" y="36"/>
                  </a:lnTo>
                  <a:lnTo>
                    <a:pt x="2874" y="34"/>
                  </a:lnTo>
                  <a:lnTo>
                    <a:pt x="2874" y="34"/>
                  </a:lnTo>
                  <a:lnTo>
                    <a:pt x="2872" y="34"/>
                  </a:lnTo>
                  <a:lnTo>
                    <a:pt x="2872" y="34"/>
                  </a:lnTo>
                  <a:lnTo>
                    <a:pt x="2870" y="34"/>
                  </a:lnTo>
                  <a:lnTo>
                    <a:pt x="2870" y="34"/>
                  </a:lnTo>
                  <a:lnTo>
                    <a:pt x="2866" y="34"/>
                  </a:lnTo>
                  <a:lnTo>
                    <a:pt x="2866" y="34"/>
                  </a:lnTo>
                  <a:lnTo>
                    <a:pt x="2864" y="34"/>
                  </a:lnTo>
                  <a:lnTo>
                    <a:pt x="2864" y="34"/>
                  </a:lnTo>
                  <a:lnTo>
                    <a:pt x="2862" y="34"/>
                  </a:lnTo>
                  <a:lnTo>
                    <a:pt x="2862" y="34"/>
                  </a:lnTo>
                  <a:lnTo>
                    <a:pt x="2862" y="34"/>
                  </a:lnTo>
                  <a:lnTo>
                    <a:pt x="2862" y="34"/>
                  </a:lnTo>
                  <a:lnTo>
                    <a:pt x="2860" y="34"/>
                  </a:lnTo>
                  <a:lnTo>
                    <a:pt x="2860" y="34"/>
                  </a:lnTo>
                  <a:lnTo>
                    <a:pt x="2860" y="34"/>
                  </a:lnTo>
                  <a:lnTo>
                    <a:pt x="2860" y="34"/>
                  </a:lnTo>
                  <a:lnTo>
                    <a:pt x="2858" y="34"/>
                  </a:lnTo>
                  <a:lnTo>
                    <a:pt x="2858" y="34"/>
                  </a:lnTo>
                  <a:lnTo>
                    <a:pt x="2858" y="36"/>
                  </a:lnTo>
                  <a:lnTo>
                    <a:pt x="2858" y="36"/>
                  </a:lnTo>
                  <a:lnTo>
                    <a:pt x="2858" y="36"/>
                  </a:lnTo>
                  <a:lnTo>
                    <a:pt x="2858" y="36"/>
                  </a:lnTo>
                  <a:lnTo>
                    <a:pt x="2858" y="36"/>
                  </a:lnTo>
                  <a:lnTo>
                    <a:pt x="2858" y="38"/>
                  </a:lnTo>
                  <a:lnTo>
                    <a:pt x="2858" y="38"/>
                  </a:lnTo>
                  <a:lnTo>
                    <a:pt x="2852" y="38"/>
                  </a:lnTo>
                  <a:lnTo>
                    <a:pt x="2852" y="38"/>
                  </a:lnTo>
                  <a:lnTo>
                    <a:pt x="2844" y="38"/>
                  </a:lnTo>
                  <a:lnTo>
                    <a:pt x="2844" y="38"/>
                  </a:lnTo>
                  <a:lnTo>
                    <a:pt x="2842" y="38"/>
                  </a:lnTo>
                  <a:lnTo>
                    <a:pt x="2842" y="38"/>
                  </a:lnTo>
                  <a:lnTo>
                    <a:pt x="2842" y="38"/>
                  </a:lnTo>
                  <a:lnTo>
                    <a:pt x="2842" y="38"/>
                  </a:lnTo>
                  <a:lnTo>
                    <a:pt x="2840" y="38"/>
                  </a:lnTo>
                  <a:lnTo>
                    <a:pt x="2840" y="38"/>
                  </a:lnTo>
                  <a:lnTo>
                    <a:pt x="2834" y="38"/>
                  </a:lnTo>
                  <a:lnTo>
                    <a:pt x="2834" y="38"/>
                  </a:lnTo>
                  <a:lnTo>
                    <a:pt x="2832" y="38"/>
                  </a:lnTo>
                  <a:lnTo>
                    <a:pt x="2832" y="38"/>
                  </a:lnTo>
                  <a:lnTo>
                    <a:pt x="2832" y="38"/>
                  </a:lnTo>
                  <a:lnTo>
                    <a:pt x="2832" y="38"/>
                  </a:lnTo>
                  <a:lnTo>
                    <a:pt x="2830" y="38"/>
                  </a:lnTo>
                  <a:lnTo>
                    <a:pt x="2830" y="38"/>
                  </a:lnTo>
                  <a:lnTo>
                    <a:pt x="2830" y="38"/>
                  </a:lnTo>
                  <a:lnTo>
                    <a:pt x="2830" y="38"/>
                  </a:lnTo>
                  <a:lnTo>
                    <a:pt x="2828" y="38"/>
                  </a:lnTo>
                  <a:lnTo>
                    <a:pt x="2828" y="38"/>
                  </a:lnTo>
                  <a:lnTo>
                    <a:pt x="2826" y="38"/>
                  </a:lnTo>
                  <a:lnTo>
                    <a:pt x="2826" y="38"/>
                  </a:lnTo>
                  <a:lnTo>
                    <a:pt x="2826" y="38"/>
                  </a:lnTo>
                  <a:lnTo>
                    <a:pt x="2826" y="38"/>
                  </a:lnTo>
                  <a:lnTo>
                    <a:pt x="2826" y="38"/>
                  </a:lnTo>
                  <a:lnTo>
                    <a:pt x="2826" y="38"/>
                  </a:lnTo>
                  <a:lnTo>
                    <a:pt x="2824" y="38"/>
                  </a:lnTo>
                  <a:lnTo>
                    <a:pt x="2824" y="38"/>
                  </a:lnTo>
                  <a:lnTo>
                    <a:pt x="2820" y="38"/>
                  </a:lnTo>
                  <a:lnTo>
                    <a:pt x="2816" y="38"/>
                  </a:lnTo>
                  <a:lnTo>
                    <a:pt x="2816" y="38"/>
                  </a:lnTo>
                  <a:lnTo>
                    <a:pt x="2814" y="38"/>
                  </a:lnTo>
                  <a:lnTo>
                    <a:pt x="2814" y="38"/>
                  </a:lnTo>
                  <a:lnTo>
                    <a:pt x="2806" y="38"/>
                  </a:lnTo>
                  <a:lnTo>
                    <a:pt x="2806" y="38"/>
                  </a:lnTo>
                  <a:lnTo>
                    <a:pt x="2804" y="38"/>
                  </a:lnTo>
                  <a:lnTo>
                    <a:pt x="2804" y="38"/>
                  </a:lnTo>
                  <a:lnTo>
                    <a:pt x="2796" y="38"/>
                  </a:lnTo>
                  <a:lnTo>
                    <a:pt x="2796" y="38"/>
                  </a:lnTo>
                  <a:lnTo>
                    <a:pt x="2794" y="38"/>
                  </a:lnTo>
                  <a:lnTo>
                    <a:pt x="2794" y="38"/>
                  </a:lnTo>
                  <a:lnTo>
                    <a:pt x="2792" y="38"/>
                  </a:lnTo>
                  <a:lnTo>
                    <a:pt x="2792" y="38"/>
                  </a:lnTo>
                  <a:lnTo>
                    <a:pt x="2792" y="38"/>
                  </a:lnTo>
                  <a:lnTo>
                    <a:pt x="2792" y="38"/>
                  </a:lnTo>
                  <a:lnTo>
                    <a:pt x="2790" y="38"/>
                  </a:lnTo>
                  <a:lnTo>
                    <a:pt x="2790" y="38"/>
                  </a:lnTo>
                  <a:lnTo>
                    <a:pt x="2790" y="38"/>
                  </a:lnTo>
                  <a:lnTo>
                    <a:pt x="2790" y="38"/>
                  </a:lnTo>
                  <a:lnTo>
                    <a:pt x="2786" y="38"/>
                  </a:lnTo>
                  <a:lnTo>
                    <a:pt x="2784" y="38"/>
                  </a:lnTo>
                  <a:lnTo>
                    <a:pt x="2784" y="38"/>
                  </a:lnTo>
                  <a:lnTo>
                    <a:pt x="2782" y="38"/>
                  </a:lnTo>
                  <a:lnTo>
                    <a:pt x="2782" y="38"/>
                  </a:lnTo>
                  <a:lnTo>
                    <a:pt x="2780" y="38"/>
                  </a:lnTo>
                  <a:lnTo>
                    <a:pt x="2780" y="38"/>
                  </a:lnTo>
                  <a:lnTo>
                    <a:pt x="2776" y="38"/>
                  </a:lnTo>
                  <a:lnTo>
                    <a:pt x="2776" y="38"/>
                  </a:lnTo>
                  <a:lnTo>
                    <a:pt x="2772" y="38"/>
                  </a:lnTo>
                  <a:lnTo>
                    <a:pt x="2772" y="38"/>
                  </a:lnTo>
                  <a:lnTo>
                    <a:pt x="2772" y="38"/>
                  </a:lnTo>
                  <a:lnTo>
                    <a:pt x="2772" y="38"/>
                  </a:lnTo>
                  <a:lnTo>
                    <a:pt x="2770" y="38"/>
                  </a:lnTo>
                  <a:lnTo>
                    <a:pt x="2770" y="38"/>
                  </a:lnTo>
                  <a:lnTo>
                    <a:pt x="2770" y="38"/>
                  </a:lnTo>
                  <a:lnTo>
                    <a:pt x="2770" y="38"/>
                  </a:lnTo>
                  <a:lnTo>
                    <a:pt x="2768" y="38"/>
                  </a:lnTo>
                  <a:lnTo>
                    <a:pt x="2768" y="38"/>
                  </a:lnTo>
                  <a:lnTo>
                    <a:pt x="2764" y="38"/>
                  </a:lnTo>
                  <a:lnTo>
                    <a:pt x="2764" y="38"/>
                  </a:lnTo>
                  <a:lnTo>
                    <a:pt x="2762" y="38"/>
                  </a:lnTo>
                  <a:lnTo>
                    <a:pt x="2762" y="38"/>
                  </a:lnTo>
                  <a:lnTo>
                    <a:pt x="2762" y="36"/>
                  </a:lnTo>
                  <a:lnTo>
                    <a:pt x="2762" y="36"/>
                  </a:lnTo>
                  <a:lnTo>
                    <a:pt x="2762" y="36"/>
                  </a:lnTo>
                  <a:lnTo>
                    <a:pt x="2762" y="36"/>
                  </a:lnTo>
                  <a:lnTo>
                    <a:pt x="2760" y="36"/>
                  </a:lnTo>
                  <a:lnTo>
                    <a:pt x="2760" y="36"/>
                  </a:lnTo>
                  <a:lnTo>
                    <a:pt x="2754" y="36"/>
                  </a:lnTo>
                  <a:lnTo>
                    <a:pt x="2754" y="36"/>
                  </a:lnTo>
                  <a:lnTo>
                    <a:pt x="2750" y="36"/>
                  </a:lnTo>
                  <a:lnTo>
                    <a:pt x="2750" y="36"/>
                  </a:lnTo>
                  <a:lnTo>
                    <a:pt x="2750" y="36"/>
                  </a:lnTo>
                  <a:lnTo>
                    <a:pt x="2750" y="36"/>
                  </a:lnTo>
                  <a:lnTo>
                    <a:pt x="2748" y="36"/>
                  </a:lnTo>
                  <a:lnTo>
                    <a:pt x="2748" y="36"/>
                  </a:lnTo>
                  <a:lnTo>
                    <a:pt x="2746" y="36"/>
                  </a:lnTo>
                  <a:lnTo>
                    <a:pt x="2746" y="36"/>
                  </a:lnTo>
                  <a:lnTo>
                    <a:pt x="2744" y="38"/>
                  </a:lnTo>
                  <a:lnTo>
                    <a:pt x="2744" y="38"/>
                  </a:lnTo>
                  <a:lnTo>
                    <a:pt x="2742" y="38"/>
                  </a:lnTo>
                  <a:lnTo>
                    <a:pt x="2738" y="38"/>
                  </a:lnTo>
                  <a:lnTo>
                    <a:pt x="2738" y="38"/>
                  </a:lnTo>
                  <a:lnTo>
                    <a:pt x="2738" y="38"/>
                  </a:lnTo>
                  <a:lnTo>
                    <a:pt x="2738" y="38"/>
                  </a:lnTo>
                  <a:lnTo>
                    <a:pt x="2736" y="38"/>
                  </a:lnTo>
                  <a:lnTo>
                    <a:pt x="2736" y="38"/>
                  </a:lnTo>
                  <a:lnTo>
                    <a:pt x="2728" y="38"/>
                  </a:lnTo>
                  <a:lnTo>
                    <a:pt x="2728" y="38"/>
                  </a:lnTo>
                  <a:lnTo>
                    <a:pt x="2724" y="38"/>
                  </a:lnTo>
                  <a:lnTo>
                    <a:pt x="2724" y="38"/>
                  </a:lnTo>
                  <a:lnTo>
                    <a:pt x="2720" y="36"/>
                  </a:lnTo>
                  <a:lnTo>
                    <a:pt x="2720" y="36"/>
                  </a:lnTo>
                  <a:lnTo>
                    <a:pt x="2720" y="36"/>
                  </a:lnTo>
                  <a:lnTo>
                    <a:pt x="2720" y="36"/>
                  </a:lnTo>
                  <a:lnTo>
                    <a:pt x="2716" y="38"/>
                  </a:lnTo>
                  <a:lnTo>
                    <a:pt x="2716" y="38"/>
                  </a:lnTo>
                  <a:lnTo>
                    <a:pt x="2712" y="38"/>
                  </a:lnTo>
                  <a:lnTo>
                    <a:pt x="2712" y="38"/>
                  </a:lnTo>
                  <a:lnTo>
                    <a:pt x="2710" y="38"/>
                  </a:lnTo>
                  <a:lnTo>
                    <a:pt x="2706" y="38"/>
                  </a:lnTo>
                  <a:lnTo>
                    <a:pt x="2706" y="38"/>
                  </a:lnTo>
                  <a:lnTo>
                    <a:pt x="2700" y="38"/>
                  </a:lnTo>
                  <a:lnTo>
                    <a:pt x="2700" y="38"/>
                  </a:lnTo>
                  <a:lnTo>
                    <a:pt x="2694" y="38"/>
                  </a:lnTo>
                  <a:lnTo>
                    <a:pt x="2694" y="38"/>
                  </a:lnTo>
                  <a:lnTo>
                    <a:pt x="2692" y="36"/>
                  </a:lnTo>
                  <a:lnTo>
                    <a:pt x="2692" y="36"/>
                  </a:lnTo>
                  <a:lnTo>
                    <a:pt x="2688" y="36"/>
                  </a:lnTo>
                  <a:lnTo>
                    <a:pt x="2688" y="36"/>
                  </a:lnTo>
                  <a:lnTo>
                    <a:pt x="2686" y="36"/>
                  </a:lnTo>
                  <a:lnTo>
                    <a:pt x="2686" y="36"/>
                  </a:lnTo>
                  <a:lnTo>
                    <a:pt x="2684" y="36"/>
                  </a:lnTo>
                  <a:lnTo>
                    <a:pt x="2684" y="36"/>
                  </a:lnTo>
                  <a:lnTo>
                    <a:pt x="2682" y="36"/>
                  </a:lnTo>
                  <a:lnTo>
                    <a:pt x="2682" y="36"/>
                  </a:lnTo>
                  <a:lnTo>
                    <a:pt x="2682" y="36"/>
                  </a:lnTo>
                  <a:lnTo>
                    <a:pt x="2682" y="36"/>
                  </a:lnTo>
                  <a:lnTo>
                    <a:pt x="2680" y="36"/>
                  </a:lnTo>
                  <a:lnTo>
                    <a:pt x="2680" y="36"/>
                  </a:lnTo>
                  <a:lnTo>
                    <a:pt x="2680" y="36"/>
                  </a:lnTo>
                  <a:lnTo>
                    <a:pt x="2680" y="36"/>
                  </a:lnTo>
                  <a:lnTo>
                    <a:pt x="2678" y="36"/>
                  </a:lnTo>
                  <a:lnTo>
                    <a:pt x="2678" y="36"/>
                  </a:lnTo>
                  <a:lnTo>
                    <a:pt x="2678" y="36"/>
                  </a:lnTo>
                  <a:lnTo>
                    <a:pt x="2678" y="36"/>
                  </a:lnTo>
                  <a:lnTo>
                    <a:pt x="2678" y="36"/>
                  </a:lnTo>
                  <a:lnTo>
                    <a:pt x="2678" y="36"/>
                  </a:lnTo>
                  <a:lnTo>
                    <a:pt x="2676" y="36"/>
                  </a:lnTo>
                  <a:lnTo>
                    <a:pt x="2676" y="36"/>
                  </a:lnTo>
                  <a:lnTo>
                    <a:pt x="2670" y="36"/>
                  </a:lnTo>
                  <a:lnTo>
                    <a:pt x="2670" y="36"/>
                  </a:lnTo>
                  <a:lnTo>
                    <a:pt x="2664" y="38"/>
                  </a:lnTo>
                  <a:lnTo>
                    <a:pt x="2664" y="38"/>
                  </a:lnTo>
                  <a:lnTo>
                    <a:pt x="2660" y="38"/>
                  </a:lnTo>
                  <a:lnTo>
                    <a:pt x="2660" y="38"/>
                  </a:lnTo>
                  <a:lnTo>
                    <a:pt x="2656" y="38"/>
                  </a:lnTo>
                  <a:lnTo>
                    <a:pt x="2656" y="38"/>
                  </a:lnTo>
                  <a:lnTo>
                    <a:pt x="2656" y="38"/>
                  </a:lnTo>
                  <a:lnTo>
                    <a:pt x="2656" y="38"/>
                  </a:lnTo>
                  <a:lnTo>
                    <a:pt x="2654" y="38"/>
                  </a:lnTo>
                  <a:lnTo>
                    <a:pt x="2654" y="38"/>
                  </a:lnTo>
                  <a:lnTo>
                    <a:pt x="2648" y="38"/>
                  </a:lnTo>
                  <a:lnTo>
                    <a:pt x="2648" y="38"/>
                  </a:lnTo>
                  <a:lnTo>
                    <a:pt x="2644" y="38"/>
                  </a:lnTo>
                  <a:lnTo>
                    <a:pt x="2644" y="38"/>
                  </a:lnTo>
                  <a:lnTo>
                    <a:pt x="2642" y="38"/>
                  </a:lnTo>
                  <a:lnTo>
                    <a:pt x="2642" y="38"/>
                  </a:lnTo>
                  <a:lnTo>
                    <a:pt x="2640" y="38"/>
                  </a:lnTo>
                  <a:lnTo>
                    <a:pt x="2640" y="38"/>
                  </a:lnTo>
                  <a:lnTo>
                    <a:pt x="2636" y="40"/>
                  </a:lnTo>
                  <a:lnTo>
                    <a:pt x="2636" y="40"/>
                  </a:lnTo>
                  <a:lnTo>
                    <a:pt x="2634" y="40"/>
                  </a:lnTo>
                  <a:lnTo>
                    <a:pt x="2634" y="40"/>
                  </a:lnTo>
                  <a:lnTo>
                    <a:pt x="2632" y="40"/>
                  </a:lnTo>
                  <a:lnTo>
                    <a:pt x="2632" y="40"/>
                  </a:lnTo>
                  <a:lnTo>
                    <a:pt x="2630" y="40"/>
                  </a:lnTo>
                  <a:lnTo>
                    <a:pt x="2630" y="40"/>
                  </a:lnTo>
                  <a:lnTo>
                    <a:pt x="2630" y="40"/>
                  </a:lnTo>
                  <a:lnTo>
                    <a:pt x="2630" y="40"/>
                  </a:lnTo>
                  <a:lnTo>
                    <a:pt x="2628" y="40"/>
                  </a:lnTo>
                  <a:lnTo>
                    <a:pt x="2628" y="40"/>
                  </a:lnTo>
                  <a:lnTo>
                    <a:pt x="2624" y="40"/>
                  </a:lnTo>
                  <a:lnTo>
                    <a:pt x="2624" y="40"/>
                  </a:lnTo>
                  <a:lnTo>
                    <a:pt x="2624" y="38"/>
                  </a:lnTo>
                  <a:lnTo>
                    <a:pt x="2624" y="38"/>
                  </a:lnTo>
                  <a:lnTo>
                    <a:pt x="2618" y="38"/>
                  </a:lnTo>
                  <a:lnTo>
                    <a:pt x="2618" y="38"/>
                  </a:lnTo>
                  <a:lnTo>
                    <a:pt x="2616" y="38"/>
                  </a:lnTo>
                  <a:lnTo>
                    <a:pt x="2616" y="38"/>
                  </a:lnTo>
                  <a:lnTo>
                    <a:pt x="2614" y="38"/>
                  </a:lnTo>
                  <a:lnTo>
                    <a:pt x="2614" y="38"/>
                  </a:lnTo>
                  <a:lnTo>
                    <a:pt x="2614" y="38"/>
                  </a:lnTo>
                  <a:lnTo>
                    <a:pt x="2614" y="38"/>
                  </a:lnTo>
                  <a:lnTo>
                    <a:pt x="2612" y="38"/>
                  </a:lnTo>
                  <a:lnTo>
                    <a:pt x="2612" y="38"/>
                  </a:lnTo>
                  <a:lnTo>
                    <a:pt x="2608" y="38"/>
                  </a:lnTo>
                  <a:lnTo>
                    <a:pt x="2608" y="38"/>
                  </a:lnTo>
                  <a:lnTo>
                    <a:pt x="2604" y="38"/>
                  </a:lnTo>
                  <a:lnTo>
                    <a:pt x="2604" y="38"/>
                  </a:lnTo>
                  <a:lnTo>
                    <a:pt x="2602" y="36"/>
                  </a:lnTo>
                  <a:lnTo>
                    <a:pt x="2602" y="36"/>
                  </a:lnTo>
                  <a:lnTo>
                    <a:pt x="2600" y="36"/>
                  </a:lnTo>
                  <a:lnTo>
                    <a:pt x="2600" y="36"/>
                  </a:lnTo>
                  <a:lnTo>
                    <a:pt x="2600" y="36"/>
                  </a:lnTo>
                  <a:lnTo>
                    <a:pt x="2600" y="36"/>
                  </a:lnTo>
                  <a:lnTo>
                    <a:pt x="2598" y="34"/>
                  </a:lnTo>
                  <a:lnTo>
                    <a:pt x="2598" y="34"/>
                  </a:lnTo>
                  <a:lnTo>
                    <a:pt x="2596" y="34"/>
                  </a:lnTo>
                  <a:lnTo>
                    <a:pt x="2596" y="34"/>
                  </a:lnTo>
                  <a:lnTo>
                    <a:pt x="2588" y="34"/>
                  </a:lnTo>
                  <a:lnTo>
                    <a:pt x="2588" y="34"/>
                  </a:lnTo>
                  <a:lnTo>
                    <a:pt x="2584" y="34"/>
                  </a:lnTo>
                  <a:lnTo>
                    <a:pt x="2584" y="34"/>
                  </a:lnTo>
                  <a:lnTo>
                    <a:pt x="2570" y="34"/>
                  </a:lnTo>
                  <a:lnTo>
                    <a:pt x="2570" y="34"/>
                  </a:lnTo>
                  <a:lnTo>
                    <a:pt x="2568" y="34"/>
                  </a:lnTo>
                  <a:lnTo>
                    <a:pt x="2568" y="34"/>
                  </a:lnTo>
                  <a:lnTo>
                    <a:pt x="2566" y="34"/>
                  </a:lnTo>
                  <a:lnTo>
                    <a:pt x="2566" y="34"/>
                  </a:lnTo>
                  <a:lnTo>
                    <a:pt x="2562" y="36"/>
                  </a:lnTo>
                  <a:lnTo>
                    <a:pt x="2562" y="36"/>
                  </a:lnTo>
                  <a:lnTo>
                    <a:pt x="2556" y="36"/>
                  </a:lnTo>
                  <a:lnTo>
                    <a:pt x="2556" y="36"/>
                  </a:lnTo>
                  <a:lnTo>
                    <a:pt x="2552" y="34"/>
                  </a:lnTo>
                  <a:lnTo>
                    <a:pt x="2552" y="34"/>
                  </a:lnTo>
                  <a:lnTo>
                    <a:pt x="2544" y="34"/>
                  </a:lnTo>
                  <a:lnTo>
                    <a:pt x="2544" y="34"/>
                  </a:lnTo>
                  <a:lnTo>
                    <a:pt x="2542" y="34"/>
                  </a:lnTo>
                  <a:lnTo>
                    <a:pt x="2542" y="34"/>
                  </a:lnTo>
                  <a:lnTo>
                    <a:pt x="2536" y="34"/>
                  </a:lnTo>
                  <a:lnTo>
                    <a:pt x="2536" y="34"/>
                  </a:lnTo>
                  <a:lnTo>
                    <a:pt x="2532" y="36"/>
                  </a:lnTo>
                  <a:lnTo>
                    <a:pt x="2532" y="36"/>
                  </a:lnTo>
                  <a:lnTo>
                    <a:pt x="2528" y="36"/>
                  </a:lnTo>
                  <a:lnTo>
                    <a:pt x="2528" y="36"/>
                  </a:lnTo>
                  <a:lnTo>
                    <a:pt x="2526" y="36"/>
                  </a:lnTo>
                  <a:lnTo>
                    <a:pt x="2526" y="36"/>
                  </a:lnTo>
                  <a:lnTo>
                    <a:pt x="2524" y="36"/>
                  </a:lnTo>
                  <a:lnTo>
                    <a:pt x="2524" y="36"/>
                  </a:lnTo>
                  <a:lnTo>
                    <a:pt x="2520" y="36"/>
                  </a:lnTo>
                  <a:lnTo>
                    <a:pt x="2520" y="36"/>
                  </a:lnTo>
                  <a:lnTo>
                    <a:pt x="2516" y="38"/>
                  </a:lnTo>
                  <a:lnTo>
                    <a:pt x="2516" y="38"/>
                  </a:lnTo>
                  <a:lnTo>
                    <a:pt x="2516" y="38"/>
                  </a:lnTo>
                  <a:lnTo>
                    <a:pt x="2516" y="38"/>
                  </a:lnTo>
                  <a:lnTo>
                    <a:pt x="2516" y="38"/>
                  </a:lnTo>
                  <a:lnTo>
                    <a:pt x="2516" y="38"/>
                  </a:lnTo>
                  <a:lnTo>
                    <a:pt x="2516" y="38"/>
                  </a:lnTo>
                  <a:lnTo>
                    <a:pt x="2516" y="38"/>
                  </a:lnTo>
                  <a:lnTo>
                    <a:pt x="2512" y="38"/>
                  </a:lnTo>
                  <a:lnTo>
                    <a:pt x="2512" y="38"/>
                  </a:lnTo>
                  <a:lnTo>
                    <a:pt x="2512" y="36"/>
                  </a:lnTo>
                  <a:lnTo>
                    <a:pt x="2512" y="36"/>
                  </a:lnTo>
                  <a:lnTo>
                    <a:pt x="2510" y="36"/>
                  </a:lnTo>
                  <a:lnTo>
                    <a:pt x="2510" y="36"/>
                  </a:lnTo>
                  <a:lnTo>
                    <a:pt x="2508" y="36"/>
                  </a:lnTo>
                  <a:lnTo>
                    <a:pt x="2508" y="36"/>
                  </a:lnTo>
                  <a:lnTo>
                    <a:pt x="2506" y="36"/>
                  </a:lnTo>
                  <a:lnTo>
                    <a:pt x="2506" y="36"/>
                  </a:lnTo>
                  <a:lnTo>
                    <a:pt x="2504" y="36"/>
                  </a:lnTo>
                  <a:lnTo>
                    <a:pt x="2504" y="36"/>
                  </a:lnTo>
                  <a:lnTo>
                    <a:pt x="2504" y="36"/>
                  </a:lnTo>
                  <a:lnTo>
                    <a:pt x="2504" y="36"/>
                  </a:lnTo>
                  <a:lnTo>
                    <a:pt x="2504" y="36"/>
                  </a:lnTo>
                  <a:lnTo>
                    <a:pt x="2504" y="36"/>
                  </a:lnTo>
                  <a:lnTo>
                    <a:pt x="2504" y="36"/>
                  </a:lnTo>
                  <a:lnTo>
                    <a:pt x="2504" y="36"/>
                  </a:lnTo>
                  <a:lnTo>
                    <a:pt x="2500" y="36"/>
                  </a:lnTo>
                  <a:lnTo>
                    <a:pt x="2500" y="36"/>
                  </a:lnTo>
                  <a:lnTo>
                    <a:pt x="2496" y="36"/>
                  </a:lnTo>
                  <a:lnTo>
                    <a:pt x="2496" y="36"/>
                  </a:lnTo>
                  <a:lnTo>
                    <a:pt x="2492" y="36"/>
                  </a:lnTo>
                  <a:lnTo>
                    <a:pt x="2492" y="36"/>
                  </a:lnTo>
                  <a:lnTo>
                    <a:pt x="2488" y="36"/>
                  </a:lnTo>
                  <a:lnTo>
                    <a:pt x="2488" y="36"/>
                  </a:lnTo>
                  <a:lnTo>
                    <a:pt x="2488" y="36"/>
                  </a:lnTo>
                  <a:lnTo>
                    <a:pt x="2488" y="36"/>
                  </a:lnTo>
                  <a:lnTo>
                    <a:pt x="2484" y="36"/>
                  </a:lnTo>
                  <a:lnTo>
                    <a:pt x="2484" y="36"/>
                  </a:lnTo>
                  <a:lnTo>
                    <a:pt x="2482" y="36"/>
                  </a:lnTo>
                  <a:lnTo>
                    <a:pt x="2482" y="36"/>
                  </a:lnTo>
                  <a:lnTo>
                    <a:pt x="2482" y="36"/>
                  </a:lnTo>
                  <a:lnTo>
                    <a:pt x="2482" y="36"/>
                  </a:lnTo>
                  <a:lnTo>
                    <a:pt x="2482" y="36"/>
                  </a:lnTo>
                  <a:lnTo>
                    <a:pt x="2482" y="36"/>
                  </a:lnTo>
                  <a:lnTo>
                    <a:pt x="2480" y="36"/>
                  </a:lnTo>
                  <a:lnTo>
                    <a:pt x="2480" y="36"/>
                  </a:lnTo>
                  <a:lnTo>
                    <a:pt x="2480" y="36"/>
                  </a:lnTo>
                  <a:lnTo>
                    <a:pt x="2480" y="36"/>
                  </a:lnTo>
                  <a:lnTo>
                    <a:pt x="2474" y="36"/>
                  </a:lnTo>
                  <a:lnTo>
                    <a:pt x="2474" y="36"/>
                  </a:lnTo>
                  <a:lnTo>
                    <a:pt x="2470" y="36"/>
                  </a:lnTo>
                  <a:lnTo>
                    <a:pt x="2470" y="36"/>
                  </a:lnTo>
                  <a:lnTo>
                    <a:pt x="2466" y="38"/>
                  </a:lnTo>
                  <a:lnTo>
                    <a:pt x="2466" y="38"/>
                  </a:lnTo>
                  <a:lnTo>
                    <a:pt x="2464" y="36"/>
                  </a:lnTo>
                  <a:lnTo>
                    <a:pt x="2464" y="36"/>
                  </a:lnTo>
                  <a:lnTo>
                    <a:pt x="2458" y="38"/>
                  </a:lnTo>
                  <a:lnTo>
                    <a:pt x="2458" y="38"/>
                  </a:lnTo>
                  <a:lnTo>
                    <a:pt x="2458" y="38"/>
                  </a:lnTo>
                  <a:lnTo>
                    <a:pt x="2458" y="38"/>
                  </a:lnTo>
                  <a:lnTo>
                    <a:pt x="2456" y="38"/>
                  </a:lnTo>
                  <a:lnTo>
                    <a:pt x="2456" y="38"/>
                  </a:lnTo>
                  <a:lnTo>
                    <a:pt x="2456" y="38"/>
                  </a:lnTo>
                  <a:lnTo>
                    <a:pt x="2456" y="38"/>
                  </a:lnTo>
                  <a:lnTo>
                    <a:pt x="2452" y="36"/>
                  </a:lnTo>
                  <a:lnTo>
                    <a:pt x="2452" y="36"/>
                  </a:lnTo>
                  <a:lnTo>
                    <a:pt x="2448" y="38"/>
                  </a:lnTo>
                  <a:lnTo>
                    <a:pt x="2448" y="38"/>
                  </a:lnTo>
                  <a:lnTo>
                    <a:pt x="2446" y="38"/>
                  </a:lnTo>
                  <a:lnTo>
                    <a:pt x="2446" y="38"/>
                  </a:lnTo>
                  <a:lnTo>
                    <a:pt x="2442" y="40"/>
                  </a:lnTo>
                  <a:lnTo>
                    <a:pt x="2442" y="40"/>
                  </a:lnTo>
                  <a:lnTo>
                    <a:pt x="2438" y="40"/>
                  </a:lnTo>
                  <a:lnTo>
                    <a:pt x="2438" y="40"/>
                  </a:lnTo>
                  <a:lnTo>
                    <a:pt x="2432" y="38"/>
                  </a:lnTo>
                  <a:lnTo>
                    <a:pt x="2432" y="38"/>
                  </a:lnTo>
                  <a:lnTo>
                    <a:pt x="2432" y="38"/>
                  </a:lnTo>
                  <a:lnTo>
                    <a:pt x="2432" y="38"/>
                  </a:lnTo>
                  <a:lnTo>
                    <a:pt x="2430" y="36"/>
                  </a:lnTo>
                  <a:lnTo>
                    <a:pt x="2430" y="36"/>
                  </a:lnTo>
                  <a:lnTo>
                    <a:pt x="2428" y="36"/>
                  </a:lnTo>
                  <a:lnTo>
                    <a:pt x="2428" y="36"/>
                  </a:lnTo>
                  <a:lnTo>
                    <a:pt x="2424" y="34"/>
                  </a:lnTo>
                  <a:lnTo>
                    <a:pt x="2424" y="34"/>
                  </a:lnTo>
                  <a:lnTo>
                    <a:pt x="2420" y="34"/>
                  </a:lnTo>
                  <a:lnTo>
                    <a:pt x="2420" y="34"/>
                  </a:lnTo>
                  <a:lnTo>
                    <a:pt x="2416" y="36"/>
                  </a:lnTo>
                  <a:lnTo>
                    <a:pt x="2416" y="36"/>
                  </a:lnTo>
                  <a:lnTo>
                    <a:pt x="2414" y="36"/>
                  </a:lnTo>
                  <a:lnTo>
                    <a:pt x="2414" y="36"/>
                  </a:lnTo>
                  <a:lnTo>
                    <a:pt x="2412" y="36"/>
                  </a:lnTo>
                  <a:lnTo>
                    <a:pt x="2412" y="36"/>
                  </a:lnTo>
                  <a:lnTo>
                    <a:pt x="2408" y="36"/>
                  </a:lnTo>
                  <a:lnTo>
                    <a:pt x="2408" y="36"/>
                  </a:lnTo>
                  <a:lnTo>
                    <a:pt x="2406" y="36"/>
                  </a:lnTo>
                  <a:lnTo>
                    <a:pt x="2406" y="36"/>
                  </a:lnTo>
                  <a:lnTo>
                    <a:pt x="2402" y="36"/>
                  </a:lnTo>
                  <a:lnTo>
                    <a:pt x="2402" y="36"/>
                  </a:lnTo>
                  <a:lnTo>
                    <a:pt x="2402" y="38"/>
                  </a:lnTo>
                  <a:lnTo>
                    <a:pt x="2402" y="38"/>
                  </a:lnTo>
                  <a:lnTo>
                    <a:pt x="2402" y="38"/>
                  </a:lnTo>
                  <a:lnTo>
                    <a:pt x="2402" y="38"/>
                  </a:lnTo>
                  <a:lnTo>
                    <a:pt x="2402" y="38"/>
                  </a:lnTo>
                  <a:lnTo>
                    <a:pt x="2402" y="38"/>
                  </a:lnTo>
                  <a:lnTo>
                    <a:pt x="2400" y="38"/>
                  </a:lnTo>
                  <a:lnTo>
                    <a:pt x="2400" y="38"/>
                  </a:lnTo>
                  <a:lnTo>
                    <a:pt x="2400" y="38"/>
                  </a:lnTo>
                  <a:lnTo>
                    <a:pt x="2400" y="38"/>
                  </a:lnTo>
                  <a:lnTo>
                    <a:pt x="2400" y="38"/>
                  </a:lnTo>
                  <a:lnTo>
                    <a:pt x="2400" y="38"/>
                  </a:lnTo>
                  <a:lnTo>
                    <a:pt x="2398" y="38"/>
                  </a:lnTo>
                  <a:lnTo>
                    <a:pt x="2398" y="38"/>
                  </a:lnTo>
                  <a:lnTo>
                    <a:pt x="2396" y="36"/>
                  </a:lnTo>
                  <a:lnTo>
                    <a:pt x="2396" y="36"/>
                  </a:lnTo>
                  <a:lnTo>
                    <a:pt x="2394" y="36"/>
                  </a:lnTo>
                  <a:lnTo>
                    <a:pt x="2394" y="36"/>
                  </a:lnTo>
                  <a:lnTo>
                    <a:pt x="2392" y="36"/>
                  </a:lnTo>
                  <a:lnTo>
                    <a:pt x="2392" y="36"/>
                  </a:lnTo>
                  <a:lnTo>
                    <a:pt x="2388" y="36"/>
                  </a:lnTo>
                  <a:lnTo>
                    <a:pt x="2388" y="36"/>
                  </a:lnTo>
                  <a:lnTo>
                    <a:pt x="2384" y="34"/>
                  </a:lnTo>
                  <a:lnTo>
                    <a:pt x="2384" y="34"/>
                  </a:lnTo>
                  <a:lnTo>
                    <a:pt x="2380" y="36"/>
                  </a:lnTo>
                  <a:lnTo>
                    <a:pt x="2380" y="36"/>
                  </a:lnTo>
                  <a:lnTo>
                    <a:pt x="2374" y="36"/>
                  </a:lnTo>
                  <a:lnTo>
                    <a:pt x="2374" y="36"/>
                  </a:lnTo>
                  <a:lnTo>
                    <a:pt x="2372" y="38"/>
                  </a:lnTo>
                  <a:lnTo>
                    <a:pt x="2372" y="38"/>
                  </a:lnTo>
                  <a:lnTo>
                    <a:pt x="2368" y="38"/>
                  </a:lnTo>
                  <a:lnTo>
                    <a:pt x="2368" y="38"/>
                  </a:lnTo>
                  <a:lnTo>
                    <a:pt x="2366" y="38"/>
                  </a:lnTo>
                  <a:lnTo>
                    <a:pt x="2366" y="38"/>
                  </a:lnTo>
                  <a:lnTo>
                    <a:pt x="2366" y="38"/>
                  </a:lnTo>
                  <a:lnTo>
                    <a:pt x="2366" y="38"/>
                  </a:lnTo>
                  <a:lnTo>
                    <a:pt x="2364" y="36"/>
                  </a:lnTo>
                  <a:lnTo>
                    <a:pt x="2364" y="36"/>
                  </a:lnTo>
                  <a:lnTo>
                    <a:pt x="2356" y="36"/>
                  </a:lnTo>
                  <a:lnTo>
                    <a:pt x="2356" y="36"/>
                  </a:lnTo>
                  <a:lnTo>
                    <a:pt x="2354" y="34"/>
                  </a:lnTo>
                  <a:lnTo>
                    <a:pt x="2354" y="34"/>
                  </a:lnTo>
                  <a:lnTo>
                    <a:pt x="2352" y="34"/>
                  </a:lnTo>
                  <a:lnTo>
                    <a:pt x="2352" y="34"/>
                  </a:lnTo>
                  <a:lnTo>
                    <a:pt x="2350" y="34"/>
                  </a:lnTo>
                  <a:lnTo>
                    <a:pt x="2350" y="34"/>
                  </a:lnTo>
                  <a:lnTo>
                    <a:pt x="2344" y="34"/>
                  </a:lnTo>
                  <a:lnTo>
                    <a:pt x="2344" y="34"/>
                  </a:lnTo>
                  <a:lnTo>
                    <a:pt x="2342" y="36"/>
                  </a:lnTo>
                  <a:lnTo>
                    <a:pt x="2342" y="36"/>
                  </a:lnTo>
                  <a:lnTo>
                    <a:pt x="2338" y="36"/>
                  </a:lnTo>
                  <a:lnTo>
                    <a:pt x="2338" y="36"/>
                  </a:lnTo>
                  <a:lnTo>
                    <a:pt x="2334" y="38"/>
                  </a:lnTo>
                  <a:lnTo>
                    <a:pt x="2334" y="38"/>
                  </a:lnTo>
                  <a:lnTo>
                    <a:pt x="2328" y="36"/>
                  </a:lnTo>
                  <a:lnTo>
                    <a:pt x="2328" y="36"/>
                  </a:lnTo>
                  <a:lnTo>
                    <a:pt x="2328" y="36"/>
                  </a:lnTo>
                  <a:lnTo>
                    <a:pt x="2328" y="36"/>
                  </a:lnTo>
                  <a:lnTo>
                    <a:pt x="2326" y="36"/>
                  </a:lnTo>
                  <a:lnTo>
                    <a:pt x="2326" y="36"/>
                  </a:lnTo>
                  <a:lnTo>
                    <a:pt x="2324" y="34"/>
                  </a:lnTo>
                  <a:lnTo>
                    <a:pt x="2324" y="34"/>
                  </a:lnTo>
                  <a:lnTo>
                    <a:pt x="2320" y="34"/>
                  </a:lnTo>
                  <a:lnTo>
                    <a:pt x="2320" y="34"/>
                  </a:lnTo>
                  <a:lnTo>
                    <a:pt x="2318" y="34"/>
                  </a:lnTo>
                  <a:lnTo>
                    <a:pt x="2318" y="34"/>
                  </a:lnTo>
                  <a:lnTo>
                    <a:pt x="2312" y="34"/>
                  </a:lnTo>
                  <a:lnTo>
                    <a:pt x="2312" y="34"/>
                  </a:lnTo>
                  <a:lnTo>
                    <a:pt x="2306" y="34"/>
                  </a:lnTo>
                  <a:lnTo>
                    <a:pt x="2306" y="34"/>
                  </a:lnTo>
                  <a:lnTo>
                    <a:pt x="2300" y="34"/>
                  </a:lnTo>
                  <a:lnTo>
                    <a:pt x="2300" y="34"/>
                  </a:lnTo>
                  <a:lnTo>
                    <a:pt x="2294" y="36"/>
                  </a:lnTo>
                  <a:lnTo>
                    <a:pt x="2294" y="36"/>
                  </a:lnTo>
                  <a:lnTo>
                    <a:pt x="2294" y="36"/>
                  </a:lnTo>
                  <a:lnTo>
                    <a:pt x="2294" y="36"/>
                  </a:lnTo>
                  <a:lnTo>
                    <a:pt x="2292" y="36"/>
                  </a:lnTo>
                  <a:lnTo>
                    <a:pt x="2292" y="36"/>
                  </a:lnTo>
                  <a:lnTo>
                    <a:pt x="2290" y="34"/>
                  </a:lnTo>
                  <a:lnTo>
                    <a:pt x="2290" y="34"/>
                  </a:lnTo>
                  <a:lnTo>
                    <a:pt x="2286" y="34"/>
                  </a:lnTo>
                  <a:lnTo>
                    <a:pt x="2286" y="34"/>
                  </a:lnTo>
                  <a:lnTo>
                    <a:pt x="2284" y="34"/>
                  </a:lnTo>
                  <a:lnTo>
                    <a:pt x="2284" y="34"/>
                  </a:lnTo>
                  <a:lnTo>
                    <a:pt x="2282" y="32"/>
                  </a:lnTo>
                  <a:lnTo>
                    <a:pt x="2282" y="32"/>
                  </a:lnTo>
                  <a:lnTo>
                    <a:pt x="2276" y="34"/>
                  </a:lnTo>
                  <a:lnTo>
                    <a:pt x="2276" y="34"/>
                  </a:lnTo>
                  <a:lnTo>
                    <a:pt x="2272" y="36"/>
                  </a:lnTo>
                  <a:lnTo>
                    <a:pt x="2272" y="36"/>
                  </a:lnTo>
                  <a:lnTo>
                    <a:pt x="2262" y="36"/>
                  </a:lnTo>
                  <a:lnTo>
                    <a:pt x="2262" y="36"/>
                  </a:lnTo>
                  <a:lnTo>
                    <a:pt x="2258" y="34"/>
                  </a:lnTo>
                  <a:lnTo>
                    <a:pt x="2258" y="34"/>
                  </a:lnTo>
                  <a:lnTo>
                    <a:pt x="2254" y="36"/>
                  </a:lnTo>
                  <a:lnTo>
                    <a:pt x="2254" y="36"/>
                  </a:lnTo>
                  <a:lnTo>
                    <a:pt x="2252" y="36"/>
                  </a:lnTo>
                  <a:lnTo>
                    <a:pt x="2248" y="34"/>
                  </a:lnTo>
                  <a:lnTo>
                    <a:pt x="2248" y="34"/>
                  </a:lnTo>
                  <a:lnTo>
                    <a:pt x="2244" y="34"/>
                  </a:lnTo>
                  <a:lnTo>
                    <a:pt x="2244" y="34"/>
                  </a:lnTo>
                  <a:lnTo>
                    <a:pt x="2244" y="34"/>
                  </a:lnTo>
                  <a:lnTo>
                    <a:pt x="2244" y="34"/>
                  </a:lnTo>
                  <a:lnTo>
                    <a:pt x="2242" y="34"/>
                  </a:lnTo>
                  <a:lnTo>
                    <a:pt x="2242" y="34"/>
                  </a:lnTo>
                  <a:lnTo>
                    <a:pt x="2238" y="36"/>
                  </a:lnTo>
                  <a:lnTo>
                    <a:pt x="2238" y="36"/>
                  </a:lnTo>
                  <a:lnTo>
                    <a:pt x="2238" y="36"/>
                  </a:lnTo>
                  <a:lnTo>
                    <a:pt x="2238" y="36"/>
                  </a:lnTo>
                  <a:lnTo>
                    <a:pt x="2234" y="36"/>
                  </a:lnTo>
                  <a:lnTo>
                    <a:pt x="2234" y="36"/>
                  </a:lnTo>
                  <a:lnTo>
                    <a:pt x="2234" y="36"/>
                  </a:lnTo>
                  <a:lnTo>
                    <a:pt x="2234" y="36"/>
                  </a:lnTo>
                  <a:lnTo>
                    <a:pt x="2234" y="36"/>
                  </a:lnTo>
                  <a:lnTo>
                    <a:pt x="2234" y="36"/>
                  </a:lnTo>
                  <a:lnTo>
                    <a:pt x="2226" y="38"/>
                  </a:lnTo>
                  <a:lnTo>
                    <a:pt x="2226" y="38"/>
                  </a:lnTo>
                  <a:lnTo>
                    <a:pt x="2218" y="38"/>
                  </a:lnTo>
                  <a:lnTo>
                    <a:pt x="2218" y="38"/>
                  </a:lnTo>
                  <a:lnTo>
                    <a:pt x="2216" y="40"/>
                  </a:lnTo>
                  <a:lnTo>
                    <a:pt x="2216" y="40"/>
                  </a:lnTo>
                  <a:lnTo>
                    <a:pt x="2212" y="40"/>
                  </a:lnTo>
                  <a:lnTo>
                    <a:pt x="2212" y="40"/>
                  </a:lnTo>
                  <a:lnTo>
                    <a:pt x="2210" y="38"/>
                  </a:lnTo>
                  <a:lnTo>
                    <a:pt x="2210" y="38"/>
                  </a:lnTo>
                  <a:lnTo>
                    <a:pt x="2208" y="36"/>
                  </a:lnTo>
                  <a:lnTo>
                    <a:pt x="2208" y="36"/>
                  </a:lnTo>
                  <a:lnTo>
                    <a:pt x="2204" y="36"/>
                  </a:lnTo>
                  <a:lnTo>
                    <a:pt x="2200" y="36"/>
                  </a:lnTo>
                  <a:lnTo>
                    <a:pt x="2200" y="36"/>
                  </a:lnTo>
                  <a:lnTo>
                    <a:pt x="2194" y="36"/>
                  </a:lnTo>
                  <a:lnTo>
                    <a:pt x="2194" y="36"/>
                  </a:lnTo>
                  <a:lnTo>
                    <a:pt x="2194" y="36"/>
                  </a:lnTo>
                  <a:lnTo>
                    <a:pt x="2194" y="36"/>
                  </a:lnTo>
                  <a:lnTo>
                    <a:pt x="2190" y="36"/>
                  </a:lnTo>
                  <a:lnTo>
                    <a:pt x="2190" y="36"/>
                  </a:lnTo>
                  <a:lnTo>
                    <a:pt x="2186" y="36"/>
                  </a:lnTo>
                  <a:lnTo>
                    <a:pt x="2186" y="36"/>
                  </a:lnTo>
                  <a:lnTo>
                    <a:pt x="2184" y="36"/>
                  </a:lnTo>
                  <a:lnTo>
                    <a:pt x="2184" y="36"/>
                  </a:lnTo>
                  <a:lnTo>
                    <a:pt x="2178" y="36"/>
                  </a:lnTo>
                  <a:lnTo>
                    <a:pt x="2178" y="36"/>
                  </a:lnTo>
                  <a:lnTo>
                    <a:pt x="2170" y="36"/>
                  </a:lnTo>
                  <a:lnTo>
                    <a:pt x="2170" y="36"/>
                  </a:lnTo>
                  <a:lnTo>
                    <a:pt x="2168" y="38"/>
                  </a:lnTo>
                  <a:lnTo>
                    <a:pt x="2168" y="38"/>
                  </a:lnTo>
                  <a:lnTo>
                    <a:pt x="2164" y="38"/>
                  </a:lnTo>
                  <a:lnTo>
                    <a:pt x="2164" y="38"/>
                  </a:lnTo>
                  <a:lnTo>
                    <a:pt x="2162" y="38"/>
                  </a:lnTo>
                  <a:lnTo>
                    <a:pt x="2162" y="38"/>
                  </a:lnTo>
                  <a:lnTo>
                    <a:pt x="2158" y="38"/>
                  </a:lnTo>
                  <a:lnTo>
                    <a:pt x="2158" y="38"/>
                  </a:lnTo>
                  <a:lnTo>
                    <a:pt x="2154" y="36"/>
                  </a:lnTo>
                  <a:lnTo>
                    <a:pt x="2154" y="36"/>
                  </a:lnTo>
                  <a:lnTo>
                    <a:pt x="2148" y="38"/>
                  </a:lnTo>
                  <a:lnTo>
                    <a:pt x="2148" y="38"/>
                  </a:lnTo>
                  <a:lnTo>
                    <a:pt x="2144" y="36"/>
                  </a:lnTo>
                  <a:lnTo>
                    <a:pt x="2144" y="36"/>
                  </a:lnTo>
                  <a:lnTo>
                    <a:pt x="2140" y="36"/>
                  </a:lnTo>
                  <a:lnTo>
                    <a:pt x="2140" y="36"/>
                  </a:lnTo>
                  <a:lnTo>
                    <a:pt x="2130" y="36"/>
                  </a:lnTo>
                  <a:lnTo>
                    <a:pt x="2130" y="36"/>
                  </a:lnTo>
                  <a:lnTo>
                    <a:pt x="2128" y="36"/>
                  </a:lnTo>
                  <a:lnTo>
                    <a:pt x="2128" y="36"/>
                  </a:lnTo>
                  <a:lnTo>
                    <a:pt x="2124" y="36"/>
                  </a:lnTo>
                  <a:lnTo>
                    <a:pt x="2118" y="36"/>
                  </a:lnTo>
                  <a:lnTo>
                    <a:pt x="2118" y="36"/>
                  </a:lnTo>
                  <a:lnTo>
                    <a:pt x="2114" y="36"/>
                  </a:lnTo>
                  <a:lnTo>
                    <a:pt x="2110" y="38"/>
                  </a:lnTo>
                  <a:lnTo>
                    <a:pt x="2110" y="38"/>
                  </a:lnTo>
                  <a:lnTo>
                    <a:pt x="2102" y="38"/>
                  </a:lnTo>
                  <a:lnTo>
                    <a:pt x="2102" y="38"/>
                  </a:lnTo>
                  <a:lnTo>
                    <a:pt x="2100" y="36"/>
                  </a:lnTo>
                  <a:lnTo>
                    <a:pt x="2100" y="36"/>
                  </a:lnTo>
                  <a:lnTo>
                    <a:pt x="2096" y="36"/>
                  </a:lnTo>
                  <a:lnTo>
                    <a:pt x="2092" y="36"/>
                  </a:lnTo>
                  <a:lnTo>
                    <a:pt x="2092" y="36"/>
                  </a:lnTo>
                  <a:lnTo>
                    <a:pt x="2090" y="38"/>
                  </a:lnTo>
                  <a:lnTo>
                    <a:pt x="2090" y="38"/>
                  </a:lnTo>
                  <a:lnTo>
                    <a:pt x="2088" y="38"/>
                  </a:lnTo>
                  <a:lnTo>
                    <a:pt x="2088" y="38"/>
                  </a:lnTo>
                  <a:lnTo>
                    <a:pt x="2082" y="38"/>
                  </a:lnTo>
                  <a:lnTo>
                    <a:pt x="2082" y="38"/>
                  </a:lnTo>
                  <a:lnTo>
                    <a:pt x="2078" y="40"/>
                  </a:lnTo>
                  <a:lnTo>
                    <a:pt x="2078" y="40"/>
                  </a:lnTo>
                  <a:lnTo>
                    <a:pt x="2078" y="40"/>
                  </a:lnTo>
                  <a:lnTo>
                    <a:pt x="2078" y="40"/>
                  </a:lnTo>
                  <a:lnTo>
                    <a:pt x="2074" y="40"/>
                  </a:lnTo>
                  <a:lnTo>
                    <a:pt x="2074" y="40"/>
                  </a:lnTo>
                  <a:lnTo>
                    <a:pt x="2074" y="40"/>
                  </a:lnTo>
                  <a:lnTo>
                    <a:pt x="2074" y="40"/>
                  </a:lnTo>
                  <a:lnTo>
                    <a:pt x="2074" y="40"/>
                  </a:lnTo>
                  <a:lnTo>
                    <a:pt x="2074" y="40"/>
                  </a:lnTo>
                  <a:lnTo>
                    <a:pt x="2072" y="40"/>
                  </a:lnTo>
                  <a:lnTo>
                    <a:pt x="2072" y="40"/>
                  </a:lnTo>
                  <a:lnTo>
                    <a:pt x="2068" y="40"/>
                  </a:lnTo>
                  <a:lnTo>
                    <a:pt x="2068" y="40"/>
                  </a:lnTo>
                  <a:lnTo>
                    <a:pt x="2062" y="40"/>
                  </a:lnTo>
                  <a:lnTo>
                    <a:pt x="2058" y="38"/>
                  </a:lnTo>
                  <a:lnTo>
                    <a:pt x="2058" y="38"/>
                  </a:lnTo>
                  <a:lnTo>
                    <a:pt x="2052" y="38"/>
                  </a:lnTo>
                  <a:lnTo>
                    <a:pt x="2052" y="38"/>
                  </a:lnTo>
                  <a:lnTo>
                    <a:pt x="2046" y="40"/>
                  </a:lnTo>
                  <a:lnTo>
                    <a:pt x="2042" y="40"/>
                  </a:lnTo>
                  <a:lnTo>
                    <a:pt x="2042" y="40"/>
                  </a:lnTo>
                  <a:lnTo>
                    <a:pt x="2040" y="40"/>
                  </a:lnTo>
                  <a:lnTo>
                    <a:pt x="2040" y="40"/>
                  </a:lnTo>
                  <a:lnTo>
                    <a:pt x="2036" y="40"/>
                  </a:lnTo>
                  <a:lnTo>
                    <a:pt x="2036" y="40"/>
                  </a:lnTo>
                  <a:lnTo>
                    <a:pt x="2030" y="40"/>
                  </a:lnTo>
                  <a:lnTo>
                    <a:pt x="2030" y="40"/>
                  </a:lnTo>
                  <a:lnTo>
                    <a:pt x="2024" y="40"/>
                  </a:lnTo>
                  <a:lnTo>
                    <a:pt x="2024" y="40"/>
                  </a:lnTo>
                  <a:lnTo>
                    <a:pt x="2020" y="40"/>
                  </a:lnTo>
                  <a:lnTo>
                    <a:pt x="2020" y="40"/>
                  </a:lnTo>
                  <a:lnTo>
                    <a:pt x="2018" y="40"/>
                  </a:lnTo>
                  <a:lnTo>
                    <a:pt x="2018" y="40"/>
                  </a:lnTo>
                  <a:lnTo>
                    <a:pt x="2016" y="40"/>
                  </a:lnTo>
                  <a:lnTo>
                    <a:pt x="2016" y="40"/>
                  </a:lnTo>
                  <a:lnTo>
                    <a:pt x="2016" y="40"/>
                  </a:lnTo>
                  <a:lnTo>
                    <a:pt x="2016" y="40"/>
                  </a:lnTo>
                  <a:lnTo>
                    <a:pt x="2016" y="38"/>
                  </a:lnTo>
                  <a:lnTo>
                    <a:pt x="2016" y="38"/>
                  </a:lnTo>
                  <a:lnTo>
                    <a:pt x="2010" y="40"/>
                  </a:lnTo>
                  <a:lnTo>
                    <a:pt x="2010" y="40"/>
                  </a:lnTo>
                  <a:lnTo>
                    <a:pt x="2010" y="40"/>
                  </a:lnTo>
                  <a:lnTo>
                    <a:pt x="2010" y="40"/>
                  </a:lnTo>
                  <a:lnTo>
                    <a:pt x="2008" y="40"/>
                  </a:lnTo>
                  <a:lnTo>
                    <a:pt x="2008" y="40"/>
                  </a:lnTo>
                  <a:lnTo>
                    <a:pt x="2006" y="40"/>
                  </a:lnTo>
                  <a:lnTo>
                    <a:pt x="2006" y="40"/>
                  </a:lnTo>
                  <a:lnTo>
                    <a:pt x="2000" y="40"/>
                  </a:lnTo>
                  <a:lnTo>
                    <a:pt x="2000" y="40"/>
                  </a:lnTo>
                  <a:lnTo>
                    <a:pt x="1998" y="40"/>
                  </a:lnTo>
                  <a:lnTo>
                    <a:pt x="1998" y="40"/>
                  </a:lnTo>
                  <a:lnTo>
                    <a:pt x="1996" y="40"/>
                  </a:lnTo>
                  <a:lnTo>
                    <a:pt x="1996" y="40"/>
                  </a:lnTo>
                  <a:lnTo>
                    <a:pt x="1994" y="40"/>
                  </a:lnTo>
                  <a:lnTo>
                    <a:pt x="1994" y="40"/>
                  </a:lnTo>
                  <a:lnTo>
                    <a:pt x="1988" y="38"/>
                  </a:lnTo>
                  <a:lnTo>
                    <a:pt x="1988" y="38"/>
                  </a:lnTo>
                  <a:lnTo>
                    <a:pt x="1984" y="38"/>
                  </a:lnTo>
                  <a:lnTo>
                    <a:pt x="1984" y="38"/>
                  </a:lnTo>
                  <a:lnTo>
                    <a:pt x="1976" y="38"/>
                  </a:lnTo>
                  <a:lnTo>
                    <a:pt x="1976" y="38"/>
                  </a:lnTo>
                  <a:lnTo>
                    <a:pt x="1972" y="38"/>
                  </a:lnTo>
                  <a:lnTo>
                    <a:pt x="1972" y="38"/>
                  </a:lnTo>
                  <a:lnTo>
                    <a:pt x="1968" y="40"/>
                  </a:lnTo>
                  <a:lnTo>
                    <a:pt x="1968" y="40"/>
                  </a:lnTo>
                  <a:lnTo>
                    <a:pt x="1964" y="40"/>
                  </a:lnTo>
                  <a:lnTo>
                    <a:pt x="1964" y="40"/>
                  </a:lnTo>
                  <a:lnTo>
                    <a:pt x="1960" y="40"/>
                  </a:lnTo>
                  <a:lnTo>
                    <a:pt x="1960" y="40"/>
                  </a:lnTo>
                  <a:lnTo>
                    <a:pt x="1958" y="40"/>
                  </a:lnTo>
                  <a:lnTo>
                    <a:pt x="1958" y="40"/>
                  </a:lnTo>
                  <a:lnTo>
                    <a:pt x="1950" y="40"/>
                  </a:lnTo>
                  <a:lnTo>
                    <a:pt x="1950" y="40"/>
                  </a:lnTo>
                  <a:lnTo>
                    <a:pt x="1948" y="40"/>
                  </a:lnTo>
                  <a:lnTo>
                    <a:pt x="1948" y="40"/>
                  </a:lnTo>
                  <a:lnTo>
                    <a:pt x="1948" y="40"/>
                  </a:lnTo>
                  <a:lnTo>
                    <a:pt x="1948" y="40"/>
                  </a:lnTo>
                  <a:lnTo>
                    <a:pt x="1948" y="40"/>
                  </a:lnTo>
                  <a:lnTo>
                    <a:pt x="1948" y="40"/>
                  </a:lnTo>
                  <a:lnTo>
                    <a:pt x="1948" y="40"/>
                  </a:lnTo>
                  <a:lnTo>
                    <a:pt x="1948" y="40"/>
                  </a:lnTo>
                  <a:lnTo>
                    <a:pt x="1946" y="40"/>
                  </a:lnTo>
                  <a:lnTo>
                    <a:pt x="1946" y="40"/>
                  </a:lnTo>
                  <a:lnTo>
                    <a:pt x="1944" y="40"/>
                  </a:lnTo>
                  <a:lnTo>
                    <a:pt x="1944" y="40"/>
                  </a:lnTo>
                  <a:lnTo>
                    <a:pt x="1944" y="40"/>
                  </a:lnTo>
                  <a:lnTo>
                    <a:pt x="1944" y="40"/>
                  </a:lnTo>
                  <a:lnTo>
                    <a:pt x="1944" y="40"/>
                  </a:lnTo>
                  <a:lnTo>
                    <a:pt x="1944" y="40"/>
                  </a:lnTo>
                  <a:lnTo>
                    <a:pt x="1942" y="40"/>
                  </a:lnTo>
                  <a:lnTo>
                    <a:pt x="1942" y="40"/>
                  </a:lnTo>
                  <a:lnTo>
                    <a:pt x="1942" y="40"/>
                  </a:lnTo>
                  <a:lnTo>
                    <a:pt x="1942" y="40"/>
                  </a:lnTo>
                  <a:lnTo>
                    <a:pt x="1934" y="40"/>
                  </a:lnTo>
                  <a:lnTo>
                    <a:pt x="1934" y="40"/>
                  </a:lnTo>
                  <a:lnTo>
                    <a:pt x="1932" y="40"/>
                  </a:lnTo>
                  <a:lnTo>
                    <a:pt x="1932" y="40"/>
                  </a:lnTo>
                  <a:lnTo>
                    <a:pt x="1932" y="40"/>
                  </a:lnTo>
                  <a:lnTo>
                    <a:pt x="1932" y="40"/>
                  </a:lnTo>
                  <a:lnTo>
                    <a:pt x="1932" y="40"/>
                  </a:lnTo>
                  <a:lnTo>
                    <a:pt x="1928" y="40"/>
                  </a:lnTo>
                  <a:lnTo>
                    <a:pt x="1924" y="40"/>
                  </a:lnTo>
                  <a:lnTo>
                    <a:pt x="1924" y="40"/>
                  </a:lnTo>
                  <a:lnTo>
                    <a:pt x="1924" y="40"/>
                  </a:lnTo>
                  <a:lnTo>
                    <a:pt x="1924" y="40"/>
                  </a:lnTo>
                  <a:lnTo>
                    <a:pt x="1922" y="40"/>
                  </a:lnTo>
                  <a:lnTo>
                    <a:pt x="1922" y="40"/>
                  </a:lnTo>
                  <a:lnTo>
                    <a:pt x="1918" y="40"/>
                  </a:lnTo>
                  <a:lnTo>
                    <a:pt x="1918" y="40"/>
                  </a:lnTo>
                  <a:lnTo>
                    <a:pt x="1914" y="40"/>
                  </a:lnTo>
                  <a:lnTo>
                    <a:pt x="1914" y="40"/>
                  </a:lnTo>
                  <a:lnTo>
                    <a:pt x="1910" y="40"/>
                  </a:lnTo>
                  <a:lnTo>
                    <a:pt x="1910" y="40"/>
                  </a:lnTo>
                  <a:lnTo>
                    <a:pt x="1908" y="40"/>
                  </a:lnTo>
                  <a:lnTo>
                    <a:pt x="1908" y="40"/>
                  </a:lnTo>
                  <a:lnTo>
                    <a:pt x="1906" y="42"/>
                  </a:lnTo>
                  <a:lnTo>
                    <a:pt x="1906" y="42"/>
                  </a:lnTo>
                  <a:lnTo>
                    <a:pt x="1900" y="42"/>
                  </a:lnTo>
                  <a:lnTo>
                    <a:pt x="1900" y="42"/>
                  </a:lnTo>
                  <a:lnTo>
                    <a:pt x="1900" y="42"/>
                  </a:lnTo>
                  <a:lnTo>
                    <a:pt x="1900" y="42"/>
                  </a:lnTo>
                  <a:lnTo>
                    <a:pt x="1896" y="42"/>
                  </a:lnTo>
                  <a:lnTo>
                    <a:pt x="1896" y="42"/>
                  </a:lnTo>
                  <a:lnTo>
                    <a:pt x="1896" y="42"/>
                  </a:lnTo>
                  <a:lnTo>
                    <a:pt x="1896" y="42"/>
                  </a:lnTo>
                  <a:lnTo>
                    <a:pt x="1894" y="42"/>
                  </a:lnTo>
                  <a:lnTo>
                    <a:pt x="1894" y="42"/>
                  </a:lnTo>
                  <a:lnTo>
                    <a:pt x="1888" y="42"/>
                  </a:lnTo>
                  <a:lnTo>
                    <a:pt x="1888" y="42"/>
                  </a:lnTo>
                  <a:lnTo>
                    <a:pt x="1886" y="42"/>
                  </a:lnTo>
                  <a:lnTo>
                    <a:pt x="1886" y="42"/>
                  </a:lnTo>
                  <a:lnTo>
                    <a:pt x="1886" y="42"/>
                  </a:lnTo>
                  <a:lnTo>
                    <a:pt x="1886" y="42"/>
                  </a:lnTo>
                  <a:lnTo>
                    <a:pt x="1884" y="40"/>
                  </a:lnTo>
                  <a:lnTo>
                    <a:pt x="1884" y="40"/>
                  </a:lnTo>
                  <a:lnTo>
                    <a:pt x="1882" y="42"/>
                  </a:lnTo>
                  <a:lnTo>
                    <a:pt x="1882" y="42"/>
                  </a:lnTo>
                  <a:lnTo>
                    <a:pt x="1882" y="40"/>
                  </a:lnTo>
                  <a:lnTo>
                    <a:pt x="1882" y="40"/>
                  </a:lnTo>
                  <a:lnTo>
                    <a:pt x="1882" y="40"/>
                  </a:lnTo>
                  <a:lnTo>
                    <a:pt x="1882" y="40"/>
                  </a:lnTo>
                  <a:lnTo>
                    <a:pt x="1880" y="40"/>
                  </a:lnTo>
                  <a:lnTo>
                    <a:pt x="1880" y="40"/>
                  </a:lnTo>
                  <a:lnTo>
                    <a:pt x="1876" y="40"/>
                  </a:lnTo>
                  <a:lnTo>
                    <a:pt x="1876" y="40"/>
                  </a:lnTo>
                  <a:lnTo>
                    <a:pt x="1874" y="42"/>
                  </a:lnTo>
                  <a:lnTo>
                    <a:pt x="1874" y="42"/>
                  </a:lnTo>
                  <a:lnTo>
                    <a:pt x="1870" y="42"/>
                  </a:lnTo>
                  <a:lnTo>
                    <a:pt x="1870" y="42"/>
                  </a:lnTo>
                  <a:lnTo>
                    <a:pt x="1866" y="44"/>
                  </a:lnTo>
                  <a:lnTo>
                    <a:pt x="1866" y="44"/>
                  </a:lnTo>
                  <a:lnTo>
                    <a:pt x="1860" y="42"/>
                  </a:lnTo>
                  <a:lnTo>
                    <a:pt x="1860" y="42"/>
                  </a:lnTo>
                  <a:lnTo>
                    <a:pt x="1856" y="42"/>
                  </a:lnTo>
                  <a:lnTo>
                    <a:pt x="1856" y="42"/>
                  </a:lnTo>
                  <a:lnTo>
                    <a:pt x="1848" y="42"/>
                  </a:lnTo>
                  <a:lnTo>
                    <a:pt x="1848" y="42"/>
                  </a:lnTo>
                  <a:lnTo>
                    <a:pt x="1846" y="42"/>
                  </a:lnTo>
                  <a:lnTo>
                    <a:pt x="1846" y="42"/>
                  </a:lnTo>
                  <a:lnTo>
                    <a:pt x="1842" y="42"/>
                  </a:lnTo>
                  <a:lnTo>
                    <a:pt x="1842" y="42"/>
                  </a:lnTo>
                  <a:lnTo>
                    <a:pt x="1842" y="42"/>
                  </a:lnTo>
                  <a:lnTo>
                    <a:pt x="1842" y="42"/>
                  </a:lnTo>
                  <a:lnTo>
                    <a:pt x="1840" y="42"/>
                  </a:lnTo>
                  <a:lnTo>
                    <a:pt x="1840" y="42"/>
                  </a:lnTo>
                  <a:lnTo>
                    <a:pt x="1840" y="42"/>
                  </a:lnTo>
                  <a:lnTo>
                    <a:pt x="1840" y="42"/>
                  </a:lnTo>
                  <a:lnTo>
                    <a:pt x="1836" y="42"/>
                  </a:lnTo>
                  <a:lnTo>
                    <a:pt x="1832" y="42"/>
                  </a:lnTo>
                  <a:lnTo>
                    <a:pt x="1832" y="42"/>
                  </a:lnTo>
                  <a:lnTo>
                    <a:pt x="1832" y="38"/>
                  </a:lnTo>
                  <a:lnTo>
                    <a:pt x="1832" y="38"/>
                  </a:lnTo>
                  <a:lnTo>
                    <a:pt x="1830" y="38"/>
                  </a:lnTo>
                  <a:lnTo>
                    <a:pt x="1830" y="38"/>
                  </a:lnTo>
                  <a:lnTo>
                    <a:pt x="1828" y="40"/>
                  </a:lnTo>
                  <a:lnTo>
                    <a:pt x="1828" y="40"/>
                  </a:lnTo>
                  <a:lnTo>
                    <a:pt x="1826" y="40"/>
                  </a:lnTo>
                  <a:lnTo>
                    <a:pt x="1826" y="40"/>
                  </a:lnTo>
                  <a:lnTo>
                    <a:pt x="1820" y="40"/>
                  </a:lnTo>
                  <a:lnTo>
                    <a:pt x="1820" y="40"/>
                  </a:lnTo>
                  <a:lnTo>
                    <a:pt x="1820" y="40"/>
                  </a:lnTo>
                  <a:lnTo>
                    <a:pt x="1820" y="40"/>
                  </a:lnTo>
                  <a:lnTo>
                    <a:pt x="1816" y="38"/>
                  </a:lnTo>
                  <a:lnTo>
                    <a:pt x="1816" y="38"/>
                  </a:lnTo>
                  <a:lnTo>
                    <a:pt x="1814" y="38"/>
                  </a:lnTo>
                  <a:lnTo>
                    <a:pt x="1812" y="40"/>
                  </a:lnTo>
                  <a:lnTo>
                    <a:pt x="1812" y="40"/>
                  </a:lnTo>
                  <a:lnTo>
                    <a:pt x="1812" y="42"/>
                  </a:lnTo>
                  <a:lnTo>
                    <a:pt x="1812" y="42"/>
                  </a:lnTo>
                  <a:lnTo>
                    <a:pt x="1804" y="42"/>
                  </a:lnTo>
                  <a:lnTo>
                    <a:pt x="1804" y="42"/>
                  </a:lnTo>
                  <a:lnTo>
                    <a:pt x="1798" y="42"/>
                  </a:lnTo>
                  <a:lnTo>
                    <a:pt x="1798" y="42"/>
                  </a:lnTo>
                  <a:lnTo>
                    <a:pt x="1790" y="44"/>
                  </a:lnTo>
                  <a:lnTo>
                    <a:pt x="1790" y="44"/>
                  </a:lnTo>
                  <a:lnTo>
                    <a:pt x="1786" y="44"/>
                  </a:lnTo>
                  <a:lnTo>
                    <a:pt x="1782" y="44"/>
                  </a:lnTo>
                  <a:lnTo>
                    <a:pt x="1782" y="44"/>
                  </a:lnTo>
                  <a:lnTo>
                    <a:pt x="1778" y="44"/>
                  </a:lnTo>
                  <a:lnTo>
                    <a:pt x="1778" y="44"/>
                  </a:lnTo>
                  <a:lnTo>
                    <a:pt x="1774" y="44"/>
                  </a:lnTo>
                  <a:lnTo>
                    <a:pt x="1774" y="44"/>
                  </a:lnTo>
                  <a:lnTo>
                    <a:pt x="1772" y="44"/>
                  </a:lnTo>
                  <a:lnTo>
                    <a:pt x="1768" y="44"/>
                  </a:lnTo>
                  <a:lnTo>
                    <a:pt x="1768" y="44"/>
                  </a:lnTo>
                  <a:lnTo>
                    <a:pt x="1766" y="44"/>
                  </a:lnTo>
                  <a:lnTo>
                    <a:pt x="1766" y="44"/>
                  </a:lnTo>
                  <a:lnTo>
                    <a:pt x="1762" y="44"/>
                  </a:lnTo>
                  <a:lnTo>
                    <a:pt x="1762" y="44"/>
                  </a:lnTo>
                  <a:lnTo>
                    <a:pt x="1756" y="44"/>
                  </a:lnTo>
                  <a:lnTo>
                    <a:pt x="1756" y="44"/>
                  </a:lnTo>
                  <a:lnTo>
                    <a:pt x="1752" y="44"/>
                  </a:lnTo>
                  <a:lnTo>
                    <a:pt x="1752" y="44"/>
                  </a:lnTo>
                  <a:lnTo>
                    <a:pt x="1748" y="44"/>
                  </a:lnTo>
                  <a:lnTo>
                    <a:pt x="1748" y="44"/>
                  </a:lnTo>
                  <a:lnTo>
                    <a:pt x="1746" y="44"/>
                  </a:lnTo>
                  <a:lnTo>
                    <a:pt x="1746" y="44"/>
                  </a:lnTo>
                  <a:lnTo>
                    <a:pt x="1744" y="44"/>
                  </a:lnTo>
                  <a:lnTo>
                    <a:pt x="1744" y="44"/>
                  </a:lnTo>
                  <a:lnTo>
                    <a:pt x="1742" y="44"/>
                  </a:lnTo>
                  <a:lnTo>
                    <a:pt x="1742" y="44"/>
                  </a:lnTo>
                  <a:lnTo>
                    <a:pt x="1738" y="44"/>
                  </a:lnTo>
                  <a:lnTo>
                    <a:pt x="1738" y="44"/>
                  </a:lnTo>
                  <a:lnTo>
                    <a:pt x="1734" y="44"/>
                  </a:lnTo>
                  <a:lnTo>
                    <a:pt x="1734" y="44"/>
                  </a:lnTo>
                  <a:lnTo>
                    <a:pt x="1734" y="44"/>
                  </a:lnTo>
                  <a:lnTo>
                    <a:pt x="1734" y="44"/>
                  </a:lnTo>
                  <a:lnTo>
                    <a:pt x="1732" y="44"/>
                  </a:lnTo>
                  <a:lnTo>
                    <a:pt x="1732" y="44"/>
                  </a:lnTo>
                  <a:lnTo>
                    <a:pt x="1724" y="44"/>
                  </a:lnTo>
                  <a:lnTo>
                    <a:pt x="1718" y="46"/>
                  </a:lnTo>
                  <a:lnTo>
                    <a:pt x="1718" y="46"/>
                  </a:lnTo>
                  <a:lnTo>
                    <a:pt x="1718" y="44"/>
                  </a:lnTo>
                  <a:lnTo>
                    <a:pt x="1718" y="44"/>
                  </a:lnTo>
                  <a:lnTo>
                    <a:pt x="1716" y="44"/>
                  </a:lnTo>
                  <a:lnTo>
                    <a:pt x="1716" y="44"/>
                  </a:lnTo>
                  <a:lnTo>
                    <a:pt x="1706" y="44"/>
                  </a:lnTo>
                  <a:lnTo>
                    <a:pt x="1706" y="44"/>
                  </a:lnTo>
                  <a:lnTo>
                    <a:pt x="1702" y="44"/>
                  </a:lnTo>
                  <a:lnTo>
                    <a:pt x="1702" y="44"/>
                  </a:lnTo>
                  <a:lnTo>
                    <a:pt x="1698" y="44"/>
                  </a:lnTo>
                  <a:lnTo>
                    <a:pt x="1698" y="44"/>
                  </a:lnTo>
                  <a:lnTo>
                    <a:pt x="1694" y="44"/>
                  </a:lnTo>
                  <a:lnTo>
                    <a:pt x="1694" y="44"/>
                  </a:lnTo>
                  <a:lnTo>
                    <a:pt x="1694" y="44"/>
                  </a:lnTo>
                  <a:lnTo>
                    <a:pt x="1694" y="44"/>
                  </a:lnTo>
                  <a:lnTo>
                    <a:pt x="1690" y="44"/>
                  </a:lnTo>
                  <a:lnTo>
                    <a:pt x="1690" y="44"/>
                  </a:lnTo>
                  <a:lnTo>
                    <a:pt x="1686" y="44"/>
                  </a:lnTo>
                  <a:lnTo>
                    <a:pt x="1686" y="44"/>
                  </a:lnTo>
                  <a:lnTo>
                    <a:pt x="1686" y="44"/>
                  </a:lnTo>
                  <a:lnTo>
                    <a:pt x="1686" y="44"/>
                  </a:lnTo>
                  <a:lnTo>
                    <a:pt x="1682" y="44"/>
                  </a:lnTo>
                  <a:lnTo>
                    <a:pt x="1682" y="44"/>
                  </a:lnTo>
                  <a:lnTo>
                    <a:pt x="1678" y="44"/>
                  </a:lnTo>
                  <a:lnTo>
                    <a:pt x="1678" y="44"/>
                  </a:lnTo>
                  <a:lnTo>
                    <a:pt x="1672" y="44"/>
                  </a:lnTo>
                  <a:lnTo>
                    <a:pt x="1672" y="44"/>
                  </a:lnTo>
                  <a:lnTo>
                    <a:pt x="1670" y="44"/>
                  </a:lnTo>
                  <a:lnTo>
                    <a:pt x="1670" y="44"/>
                  </a:lnTo>
                  <a:lnTo>
                    <a:pt x="1668" y="44"/>
                  </a:lnTo>
                  <a:lnTo>
                    <a:pt x="1668" y="44"/>
                  </a:lnTo>
                  <a:lnTo>
                    <a:pt x="1668" y="44"/>
                  </a:lnTo>
                  <a:lnTo>
                    <a:pt x="1668" y="44"/>
                  </a:lnTo>
                  <a:lnTo>
                    <a:pt x="1664" y="44"/>
                  </a:lnTo>
                  <a:lnTo>
                    <a:pt x="1664" y="44"/>
                  </a:lnTo>
                  <a:lnTo>
                    <a:pt x="1658" y="46"/>
                  </a:lnTo>
                  <a:lnTo>
                    <a:pt x="1652" y="46"/>
                  </a:lnTo>
                  <a:lnTo>
                    <a:pt x="1652" y="46"/>
                  </a:lnTo>
                  <a:lnTo>
                    <a:pt x="1652" y="46"/>
                  </a:lnTo>
                  <a:lnTo>
                    <a:pt x="1652" y="46"/>
                  </a:lnTo>
                  <a:lnTo>
                    <a:pt x="1650" y="46"/>
                  </a:lnTo>
                  <a:lnTo>
                    <a:pt x="1650" y="46"/>
                  </a:lnTo>
                  <a:lnTo>
                    <a:pt x="1642" y="44"/>
                  </a:lnTo>
                  <a:lnTo>
                    <a:pt x="1642" y="44"/>
                  </a:lnTo>
                  <a:lnTo>
                    <a:pt x="1638" y="44"/>
                  </a:lnTo>
                  <a:lnTo>
                    <a:pt x="1638" y="44"/>
                  </a:lnTo>
                  <a:lnTo>
                    <a:pt x="1634" y="46"/>
                  </a:lnTo>
                  <a:lnTo>
                    <a:pt x="1634" y="46"/>
                  </a:lnTo>
                  <a:lnTo>
                    <a:pt x="1626" y="46"/>
                  </a:lnTo>
                  <a:lnTo>
                    <a:pt x="1626" y="46"/>
                  </a:lnTo>
                  <a:lnTo>
                    <a:pt x="1622" y="46"/>
                  </a:lnTo>
                  <a:lnTo>
                    <a:pt x="1622" y="46"/>
                  </a:lnTo>
                  <a:lnTo>
                    <a:pt x="1620" y="44"/>
                  </a:lnTo>
                  <a:lnTo>
                    <a:pt x="1620" y="44"/>
                  </a:lnTo>
                  <a:lnTo>
                    <a:pt x="1612" y="44"/>
                  </a:lnTo>
                  <a:lnTo>
                    <a:pt x="1612" y="44"/>
                  </a:lnTo>
                  <a:lnTo>
                    <a:pt x="1608" y="44"/>
                  </a:lnTo>
                  <a:lnTo>
                    <a:pt x="1608" y="44"/>
                  </a:lnTo>
                  <a:lnTo>
                    <a:pt x="1600" y="46"/>
                  </a:lnTo>
                  <a:lnTo>
                    <a:pt x="1600" y="46"/>
                  </a:lnTo>
                  <a:lnTo>
                    <a:pt x="1596" y="46"/>
                  </a:lnTo>
                  <a:lnTo>
                    <a:pt x="1596" y="46"/>
                  </a:lnTo>
                  <a:lnTo>
                    <a:pt x="1592" y="46"/>
                  </a:lnTo>
                  <a:lnTo>
                    <a:pt x="1592" y="46"/>
                  </a:lnTo>
                  <a:lnTo>
                    <a:pt x="1588" y="46"/>
                  </a:lnTo>
                  <a:lnTo>
                    <a:pt x="1588" y="46"/>
                  </a:lnTo>
                  <a:lnTo>
                    <a:pt x="1586" y="46"/>
                  </a:lnTo>
                  <a:lnTo>
                    <a:pt x="1586" y="46"/>
                  </a:lnTo>
                  <a:lnTo>
                    <a:pt x="1584" y="46"/>
                  </a:lnTo>
                  <a:lnTo>
                    <a:pt x="1584" y="46"/>
                  </a:lnTo>
                  <a:lnTo>
                    <a:pt x="1580" y="46"/>
                  </a:lnTo>
                  <a:lnTo>
                    <a:pt x="1580" y="46"/>
                  </a:lnTo>
                  <a:lnTo>
                    <a:pt x="1580" y="46"/>
                  </a:lnTo>
                  <a:lnTo>
                    <a:pt x="1580" y="46"/>
                  </a:lnTo>
                  <a:lnTo>
                    <a:pt x="1576" y="46"/>
                  </a:lnTo>
                  <a:lnTo>
                    <a:pt x="1570" y="48"/>
                  </a:lnTo>
                  <a:lnTo>
                    <a:pt x="1570" y="48"/>
                  </a:lnTo>
                  <a:lnTo>
                    <a:pt x="1568" y="46"/>
                  </a:lnTo>
                  <a:lnTo>
                    <a:pt x="1568" y="46"/>
                  </a:lnTo>
                  <a:lnTo>
                    <a:pt x="1566" y="48"/>
                  </a:lnTo>
                  <a:lnTo>
                    <a:pt x="1566" y="48"/>
                  </a:lnTo>
                  <a:lnTo>
                    <a:pt x="1560" y="48"/>
                  </a:lnTo>
                  <a:lnTo>
                    <a:pt x="1560" y="48"/>
                  </a:lnTo>
                  <a:lnTo>
                    <a:pt x="1560" y="48"/>
                  </a:lnTo>
                  <a:lnTo>
                    <a:pt x="1560" y="48"/>
                  </a:lnTo>
                  <a:lnTo>
                    <a:pt x="1558" y="46"/>
                  </a:lnTo>
                  <a:lnTo>
                    <a:pt x="1558" y="46"/>
                  </a:lnTo>
                  <a:lnTo>
                    <a:pt x="1554" y="44"/>
                  </a:lnTo>
                  <a:lnTo>
                    <a:pt x="1554" y="44"/>
                  </a:lnTo>
                  <a:lnTo>
                    <a:pt x="1550" y="46"/>
                  </a:lnTo>
                  <a:lnTo>
                    <a:pt x="1550" y="46"/>
                  </a:lnTo>
                  <a:lnTo>
                    <a:pt x="1546" y="46"/>
                  </a:lnTo>
                  <a:lnTo>
                    <a:pt x="1546" y="46"/>
                  </a:lnTo>
                  <a:lnTo>
                    <a:pt x="1544" y="46"/>
                  </a:lnTo>
                  <a:lnTo>
                    <a:pt x="1544" y="46"/>
                  </a:lnTo>
                  <a:lnTo>
                    <a:pt x="1540" y="48"/>
                  </a:lnTo>
                  <a:lnTo>
                    <a:pt x="1540" y="48"/>
                  </a:lnTo>
                  <a:lnTo>
                    <a:pt x="1538" y="46"/>
                  </a:lnTo>
                  <a:lnTo>
                    <a:pt x="1538" y="46"/>
                  </a:lnTo>
                  <a:lnTo>
                    <a:pt x="1536" y="44"/>
                  </a:lnTo>
                  <a:lnTo>
                    <a:pt x="1536" y="44"/>
                  </a:lnTo>
                  <a:lnTo>
                    <a:pt x="1534" y="44"/>
                  </a:lnTo>
                  <a:lnTo>
                    <a:pt x="1534" y="44"/>
                  </a:lnTo>
                  <a:lnTo>
                    <a:pt x="1532" y="44"/>
                  </a:lnTo>
                  <a:lnTo>
                    <a:pt x="1532" y="44"/>
                  </a:lnTo>
                  <a:lnTo>
                    <a:pt x="1532" y="44"/>
                  </a:lnTo>
                  <a:lnTo>
                    <a:pt x="1532" y="44"/>
                  </a:lnTo>
                  <a:lnTo>
                    <a:pt x="1526" y="46"/>
                  </a:lnTo>
                  <a:lnTo>
                    <a:pt x="1526" y="46"/>
                  </a:lnTo>
                  <a:lnTo>
                    <a:pt x="1520" y="46"/>
                  </a:lnTo>
                  <a:lnTo>
                    <a:pt x="1520" y="46"/>
                  </a:lnTo>
                  <a:lnTo>
                    <a:pt x="1518" y="46"/>
                  </a:lnTo>
                  <a:lnTo>
                    <a:pt x="1518" y="46"/>
                  </a:lnTo>
                  <a:lnTo>
                    <a:pt x="1516" y="46"/>
                  </a:lnTo>
                  <a:lnTo>
                    <a:pt x="1516" y="46"/>
                  </a:lnTo>
                  <a:lnTo>
                    <a:pt x="1514" y="46"/>
                  </a:lnTo>
                  <a:lnTo>
                    <a:pt x="1514" y="46"/>
                  </a:lnTo>
                  <a:lnTo>
                    <a:pt x="1514" y="46"/>
                  </a:lnTo>
                  <a:lnTo>
                    <a:pt x="1514" y="46"/>
                  </a:lnTo>
                  <a:lnTo>
                    <a:pt x="1512" y="46"/>
                  </a:lnTo>
                  <a:lnTo>
                    <a:pt x="1512" y="46"/>
                  </a:lnTo>
                  <a:lnTo>
                    <a:pt x="1506" y="44"/>
                  </a:lnTo>
                  <a:lnTo>
                    <a:pt x="1504" y="46"/>
                  </a:lnTo>
                  <a:lnTo>
                    <a:pt x="1504" y="46"/>
                  </a:lnTo>
                  <a:lnTo>
                    <a:pt x="1500" y="46"/>
                  </a:lnTo>
                  <a:lnTo>
                    <a:pt x="1500" y="46"/>
                  </a:lnTo>
                  <a:lnTo>
                    <a:pt x="1492" y="46"/>
                  </a:lnTo>
                  <a:lnTo>
                    <a:pt x="1492" y="46"/>
                  </a:lnTo>
                  <a:lnTo>
                    <a:pt x="1492" y="46"/>
                  </a:lnTo>
                  <a:lnTo>
                    <a:pt x="1492" y="46"/>
                  </a:lnTo>
                  <a:lnTo>
                    <a:pt x="1490" y="46"/>
                  </a:lnTo>
                  <a:lnTo>
                    <a:pt x="1490" y="46"/>
                  </a:lnTo>
                  <a:lnTo>
                    <a:pt x="1488" y="46"/>
                  </a:lnTo>
                  <a:lnTo>
                    <a:pt x="1488" y="46"/>
                  </a:lnTo>
                  <a:lnTo>
                    <a:pt x="1486" y="46"/>
                  </a:lnTo>
                  <a:lnTo>
                    <a:pt x="1486" y="46"/>
                  </a:lnTo>
                  <a:lnTo>
                    <a:pt x="1484" y="46"/>
                  </a:lnTo>
                  <a:lnTo>
                    <a:pt x="1484" y="46"/>
                  </a:lnTo>
                  <a:lnTo>
                    <a:pt x="1480" y="46"/>
                  </a:lnTo>
                  <a:lnTo>
                    <a:pt x="1480" y="46"/>
                  </a:lnTo>
                  <a:lnTo>
                    <a:pt x="1480" y="44"/>
                  </a:lnTo>
                  <a:lnTo>
                    <a:pt x="1480" y="44"/>
                  </a:lnTo>
                  <a:lnTo>
                    <a:pt x="1476" y="44"/>
                  </a:lnTo>
                  <a:lnTo>
                    <a:pt x="1476" y="44"/>
                  </a:lnTo>
                  <a:lnTo>
                    <a:pt x="1470" y="46"/>
                  </a:lnTo>
                  <a:lnTo>
                    <a:pt x="1470" y="46"/>
                  </a:lnTo>
                  <a:lnTo>
                    <a:pt x="1466" y="44"/>
                  </a:lnTo>
                  <a:lnTo>
                    <a:pt x="1466" y="44"/>
                  </a:lnTo>
                  <a:lnTo>
                    <a:pt x="1464" y="44"/>
                  </a:lnTo>
                  <a:lnTo>
                    <a:pt x="1464" y="44"/>
                  </a:lnTo>
                  <a:lnTo>
                    <a:pt x="1462" y="44"/>
                  </a:lnTo>
                  <a:lnTo>
                    <a:pt x="1462" y="44"/>
                  </a:lnTo>
                  <a:lnTo>
                    <a:pt x="1458" y="44"/>
                  </a:lnTo>
                  <a:lnTo>
                    <a:pt x="1458" y="44"/>
                  </a:lnTo>
                  <a:lnTo>
                    <a:pt x="1456" y="44"/>
                  </a:lnTo>
                  <a:lnTo>
                    <a:pt x="1456" y="44"/>
                  </a:lnTo>
                  <a:lnTo>
                    <a:pt x="1452" y="44"/>
                  </a:lnTo>
                  <a:lnTo>
                    <a:pt x="1452" y="44"/>
                  </a:lnTo>
                  <a:lnTo>
                    <a:pt x="1450" y="44"/>
                  </a:lnTo>
                  <a:lnTo>
                    <a:pt x="1450" y="44"/>
                  </a:lnTo>
                  <a:lnTo>
                    <a:pt x="1442" y="44"/>
                  </a:lnTo>
                  <a:lnTo>
                    <a:pt x="1442" y="44"/>
                  </a:lnTo>
                  <a:lnTo>
                    <a:pt x="1438" y="42"/>
                  </a:lnTo>
                  <a:lnTo>
                    <a:pt x="1438" y="42"/>
                  </a:lnTo>
                  <a:lnTo>
                    <a:pt x="1434" y="42"/>
                  </a:lnTo>
                  <a:lnTo>
                    <a:pt x="1434" y="42"/>
                  </a:lnTo>
                  <a:lnTo>
                    <a:pt x="1430" y="44"/>
                  </a:lnTo>
                  <a:lnTo>
                    <a:pt x="1430" y="44"/>
                  </a:lnTo>
                  <a:lnTo>
                    <a:pt x="1430" y="44"/>
                  </a:lnTo>
                  <a:lnTo>
                    <a:pt x="1430" y="44"/>
                  </a:lnTo>
                  <a:lnTo>
                    <a:pt x="1430" y="44"/>
                  </a:lnTo>
                  <a:lnTo>
                    <a:pt x="1430" y="44"/>
                  </a:lnTo>
                  <a:lnTo>
                    <a:pt x="1424" y="42"/>
                  </a:lnTo>
                  <a:lnTo>
                    <a:pt x="1424" y="42"/>
                  </a:lnTo>
                  <a:lnTo>
                    <a:pt x="1420" y="44"/>
                  </a:lnTo>
                  <a:lnTo>
                    <a:pt x="1420" y="44"/>
                  </a:lnTo>
                  <a:lnTo>
                    <a:pt x="1414" y="42"/>
                  </a:lnTo>
                  <a:lnTo>
                    <a:pt x="1414" y="42"/>
                  </a:lnTo>
                  <a:lnTo>
                    <a:pt x="1412" y="44"/>
                  </a:lnTo>
                  <a:lnTo>
                    <a:pt x="1412" y="44"/>
                  </a:lnTo>
                  <a:lnTo>
                    <a:pt x="1406" y="42"/>
                  </a:lnTo>
                  <a:lnTo>
                    <a:pt x="1406" y="42"/>
                  </a:lnTo>
                  <a:lnTo>
                    <a:pt x="1398" y="42"/>
                  </a:lnTo>
                  <a:lnTo>
                    <a:pt x="1398" y="42"/>
                  </a:lnTo>
                  <a:lnTo>
                    <a:pt x="1396" y="44"/>
                  </a:lnTo>
                  <a:lnTo>
                    <a:pt x="1396" y="44"/>
                  </a:lnTo>
                  <a:lnTo>
                    <a:pt x="1394" y="42"/>
                  </a:lnTo>
                  <a:lnTo>
                    <a:pt x="1394" y="42"/>
                  </a:lnTo>
                  <a:lnTo>
                    <a:pt x="1394" y="42"/>
                  </a:lnTo>
                  <a:lnTo>
                    <a:pt x="1394" y="42"/>
                  </a:lnTo>
                  <a:lnTo>
                    <a:pt x="1390" y="44"/>
                  </a:lnTo>
                  <a:lnTo>
                    <a:pt x="1386" y="44"/>
                  </a:lnTo>
                  <a:lnTo>
                    <a:pt x="1386" y="44"/>
                  </a:lnTo>
                  <a:lnTo>
                    <a:pt x="1384" y="44"/>
                  </a:lnTo>
                  <a:lnTo>
                    <a:pt x="1384" y="44"/>
                  </a:lnTo>
                  <a:lnTo>
                    <a:pt x="1380" y="44"/>
                  </a:lnTo>
                  <a:lnTo>
                    <a:pt x="1380" y="44"/>
                  </a:lnTo>
                  <a:lnTo>
                    <a:pt x="1378" y="44"/>
                  </a:lnTo>
                  <a:lnTo>
                    <a:pt x="1378" y="44"/>
                  </a:lnTo>
                  <a:lnTo>
                    <a:pt x="1374" y="44"/>
                  </a:lnTo>
                  <a:lnTo>
                    <a:pt x="1374" y="44"/>
                  </a:lnTo>
                  <a:lnTo>
                    <a:pt x="1372" y="44"/>
                  </a:lnTo>
                  <a:lnTo>
                    <a:pt x="1372" y="44"/>
                  </a:lnTo>
                  <a:lnTo>
                    <a:pt x="1370" y="44"/>
                  </a:lnTo>
                  <a:lnTo>
                    <a:pt x="1370" y="44"/>
                  </a:lnTo>
                  <a:lnTo>
                    <a:pt x="1366" y="44"/>
                  </a:lnTo>
                  <a:lnTo>
                    <a:pt x="1366" y="44"/>
                  </a:lnTo>
                  <a:lnTo>
                    <a:pt x="1364" y="44"/>
                  </a:lnTo>
                  <a:lnTo>
                    <a:pt x="1364" y="44"/>
                  </a:lnTo>
                  <a:lnTo>
                    <a:pt x="1362" y="44"/>
                  </a:lnTo>
                  <a:lnTo>
                    <a:pt x="1362" y="44"/>
                  </a:lnTo>
                  <a:lnTo>
                    <a:pt x="1354" y="44"/>
                  </a:lnTo>
                  <a:lnTo>
                    <a:pt x="1354" y="44"/>
                  </a:lnTo>
                  <a:lnTo>
                    <a:pt x="1350" y="44"/>
                  </a:lnTo>
                  <a:lnTo>
                    <a:pt x="1350" y="44"/>
                  </a:lnTo>
                  <a:lnTo>
                    <a:pt x="1348" y="44"/>
                  </a:lnTo>
                  <a:lnTo>
                    <a:pt x="1348" y="44"/>
                  </a:lnTo>
                  <a:lnTo>
                    <a:pt x="1344" y="44"/>
                  </a:lnTo>
                  <a:lnTo>
                    <a:pt x="1344" y="44"/>
                  </a:lnTo>
                  <a:lnTo>
                    <a:pt x="1340" y="46"/>
                  </a:lnTo>
                  <a:lnTo>
                    <a:pt x="1340" y="46"/>
                  </a:lnTo>
                  <a:lnTo>
                    <a:pt x="1336" y="46"/>
                  </a:lnTo>
                  <a:lnTo>
                    <a:pt x="1336" y="46"/>
                  </a:lnTo>
                  <a:lnTo>
                    <a:pt x="1328" y="46"/>
                  </a:lnTo>
                  <a:lnTo>
                    <a:pt x="1328" y="46"/>
                  </a:lnTo>
                  <a:lnTo>
                    <a:pt x="1326" y="44"/>
                  </a:lnTo>
                  <a:lnTo>
                    <a:pt x="1326" y="44"/>
                  </a:lnTo>
                  <a:lnTo>
                    <a:pt x="1318" y="44"/>
                  </a:lnTo>
                  <a:lnTo>
                    <a:pt x="1318" y="44"/>
                  </a:lnTo>
                  <a:lnTo>
                    <a:pt x="1316" y="44"/>
                  </a:lnTo>
                  <a:lnTo>
                    <a:pt x="1316" y="44"/>
                  </a:lnTo>
                  <a:lnTo>
                    <a:pt x="1312" y="44"/>
                  </a:lnTo>
                  <a:lnTo>
                    <a:pt x="1312" y="44"/>
                  </a:lnTo>
                  <a:lnTo>
                    <a:pt x="1306" y="46"/>
                  </a:lnTo>
                  <a:lnTo>
                    <a:pt x="1306" y="46"/>
                  </a:lnTo>
                  <a:lnTo>
                    <a:pt x="1302" y="46"/>
                  </a:lnTo>
                  <a:lnTo>
                    <a:pt x="1296" y="46"/>
                  </a:lnTo>
                  <a:lnTo>
                    <a:pt x="1296" y="46"/>
                  </a:lnTo>
                  <a:lnTo>
                    <a:pt x="1290" y="46"/>
                  </a:lnTo>
                  <a:lnTo>
                    <a:pt x="1290" y="46"/>
                  </a:lnTo>
                  <a:lnTo>
                    <a:pt x="1288" y="46"/>
                  </a:lnTo>
                  <a:lnTo>
                    <a:pt x="1288" y="46"/>
                  </a:lnTo>
                  <a:lnTo>
                    <a:pt x="1284" y="44"/>
                  </a:lnTo>
                  <a:lnTo>
                    <a:pt x="1284" y="44"/>
                  </a:lnTo>
                  <a:lnTo>
                    <a:pt x="1282" y="46"/>
                  </a:lnTo>
                  <a:lnTo>
                    <a:pt x="1282" y="46"/>
                  </a:lnTo>
                  <a:lnTo>
                    <a:pt x="1276" y="46"/>
                  </a:lnTo>
                  <a:lnTo>
                    <a:pt x="1276" y="46"/>
                  </a:lnTo>
                  <a:lnTo>
                    <a:pt x="1274" y="46"/>
                  </a:lnTo>
                  <a:lnTo>
                    <a:pt x="1274" y="46"/>
                  </a:lnTo>
                  <a:lnTo>
                    <a:pt x="1272" y="46"/>
                  </a:lnTo>
                  <a:lnTo>
                    <a:pt x="1272" y="46"/>
                  </a:lnTo>
                  <a:lnTo>
                    <a:pt x="1266" y="44"/>
                  </a:lnTo>
                  <a:lnTo>
                    <a:pt x="1266" y="44"/>
                  </a:lnTo>
                  <a:lnTo>
                    <a:pt x="1262" y="44"/>
                  </a:lnTo>
                  <a:lnTo>
                    <a:pt x="1262" y="44"/>
                  </a:lnTo>
                  <a:lnTo>
                    <a:pt x="1260" y="44"/>
                  </a:lnTo>
                  <a:lnTo>
                    <a:pt x="1260" y="44"/>
                  </a:lnTo>
                  <a:lnTo>
                    <a:pt x="1258" y="46"/>
                  </a:lnTo>
                  <a:lnTo>
                    <a:pt x="1258" y="46"/>
                  </a:lnTo>
                  <a:lnTo>
                    <a:pt x="1254" y="46"/>
                  </a:lnTo>
                  <a:lnTo>
                    <a:pt x="1254" y="46"/>
                  </a:lnTo>
                  <a:lnTo>
                    <a:pt x="1250" y="48"/>
                  </a:lnTo>
                  <a:lnTo>
                    <a:pt x="1250" y="48"/>
                  </a:lnTo>
                  <a:lnTo>
                    <a:pt x="1248" y="46"/>
                  </a:lnTo>
                  <a:lnTo>
                    <a:pt x="1248" y="46"/>
                  </a:lnTo>
                  <a:lnTo>
                    <a:pt x="1248" y="48"/>
                  </a:lnTo>
                  <a:lnTo>
                    <a:pt x="1248" y="48"/>
                  </a:lnTo>
                  <a:lnTo>
                    <a:pt x="1246" y="46"/>
                  </a:lnTo>
                  <a:lnTo>
                    <a:pt x="1246" y="46"/>
                  </a:lnTo>
                  <a:lnTo>
                    <a:pt x="1244" y="46"/>
                  </a:lnTo>
                  <a:lnTo>
                    <a:pt x="1244" y="46"/>
                  </a:lnTo>
                  <a:lnTo>
                    <a:pt x="1240" y="48"/>
                  </a:lnTo>
                  <a:lnTo>
                    <a:pt x="1240" y="48"/>
                  </a:lnTo>
                  <a:lnTo>
                    <a:pt x="1236" y="44"/>
                  </a:lnTo>
                  <a:lnTo>
                    <a:pt x="1236" y="44"/>
                  </a:lnTo>
                  <a:lnTo>
                    <a:pt x="1230" y="46"/>
                  </a:lnTo>
                  <a:lnTo>
                    <a:pt x="1224" y="46"/>
                  </a:lnTo>
                  <a:lnTo>
                    <a:pt x="1224" y="46"/>
                  </a:lnTo>
                  <a:lnTo>
                    <a:pt x="1222" y="46"/>
                  </a:lnTo>
                  <a:lnTo>
                    <a:pt x="1218" y="46"/>
                  </a:lnTo>
                  <a:lnTo>
                    <a:pt x="1218" y="46"/>
                  </a:lnTo>
                  <a:lnTo>
                    <a:pt x="1216" y="44"/>
                  </a:lnTo>
                  <a:lnTo>
                    <a:pt x="1214" y="44"/>
                  </a:lnTo>
                  <a:lnTo>
                    <a:pt x="1214" y="44"/>
                  </a:lnTo>
                  <a:lnTo>
                    <a:pt x="1204" y="44"/>
                  </a:lnTo>
                  <a:lnTo>
                    <a:pt x="1204" y="44"/>
                  </a:lnTo>
                  <a:lnTo>
                    <a:pt x="1200" y="42"/>
                  </a:lnTo>
                  <a:lnTo>
                    <a:pt x="1200" y="42"/>
                  </a:lnTo>
                  <a:lnTo>
                    <a:pt x="1196" y="42"/>
                  </a:lnTo>
                  <a:lnTo>
                    <a:pt x="1196" y="42"/>
                  </a:lnTo>
                  <a:lnTo>
                    <a:pt x="1188" y="44"/>
                  </a:lnTo>
                  <a:lnTo>
                    <a:pt x="1188" y="44"/>
                  </a:lnTo>
                  <a:lnTo>
                    <a:pt x="1186" y="44"/>
                  </a:lnTo>
                  <a:lnTo>
                    <a:pt x="1186" y="44"/>
                  </a:lnTo>
                  <a:lnTo>
                    <a:pt x="1180" y="44"/>
                  </a:lnTo>
                  <a:lnTo>
                    <a:pt x="1180" y="44"/>
                  </a:lnTo>
                  <a:lnTo>
                    <a:pt x="1180" y="42"/>
                  </a:lnTo>
                  <a:lnTo>
                    <a:pt x="1180" y="42"/>
                  </a:lnTo>
                  <a:lnTo>
                    <a:pt x="1176" y="42"/>
                  </a:lnTo>
                  <a:lnTo>
                    <a:pt x="1176" y="42"/>
                  </a:lnTo>
                  <a:lnTo>
                    <a:pt x="1174" y="42"/>
                  </a:lnTo>
                  <a:lnTo>
                    <a:pt x="1174" y="42"/>
                  </a:lnTo>
                  <a:lnTo>
                    <a:pt x="1170" y="44"/>
                  </a:lnTo>
                  <a:lnTo>
                    <a:pt x="1170" y="44"/>
                  </a:lnTo>
                  <a:lnTo>
                    <a:pt x="1164" y="42"/>
                  </a:lnTo>
                  <a:lnTo>
                    <a:pt x="1164" y="42"/>
                  </a:lnTo>
                  <a:lnTo>
                    <a:pt x="1156" y="42"/>
                  </a:lnTo>
                  <a:lnTo>
                    <a:pt x="1156" y="42"/>
                  </a:lnTo>
                  <a:lnTo>
                    <a:pt x="1152" y="42"/>
                  </a:lnTo>
                  <a:lnTo>
                    <a:pt x="1152" y="42"/>
                  </a:lnTo>
                  <a:lnTo>
                    <a:pt x="1148" y="44"/>
                  </a:lnTo>
                  <a:lnTo>
                    <a:pt x="1148" y="44"/>
                  </a:lnTo>
                  <a:lnTo>
                    <a:pt x="1146" y="44"/>
                  </a:lnTo>
                  <a:lnTo>
                    <a:pt x="1144" y="44"/>
                  </a:lnTo>
                  <a:lnTo>
                    <a:pt x="1142" y="44"/>
                  </a:lnTo>
                  <a:lnTo>
                    <a:pt x="1142" y="44"/>
                  </a:lnTo>
                  <a:lnTo>
                    <a:pt x="1140" y="42"/>
                  </a:lnTo>
                  <a:lnTo>
                    <a:pt x="1140" y="42"/>
                  </a:lnTo>
                  <a:lnTo>
                    <a:pt x="1140" y="42"/>
                  </a:lnTo>
                  <a:lnTo>
                    <a:pt x="1140" y="42"/>
                  </a:lnTo>
                  <a:lnTo>
                    <a:pt x="1138" y="42"/>
                  </a:lnTo>
                  <a:lnTo>
                    <a:pt x="1138" y="42"/>
                  </a:lnTo>
                  <a:lnTo>
                    <a:pt x="1138" y="40"/>
                  </a:lnTo>
                  <a:lnTo>
                    <a:pt x="1138" y="40"/>
                  </a:lnTo>
                  <a:lnTo>
                    <a:pt x="1138" y="40"/>
                  </a:lnTo>
                  <a:lnTo>
                    <a:pt x="1138" y="40"/>
                  </a:lnTo>
                  <a:lnTo>
                    <a:pt x="1136" y="40"/>
                  </a:lnTo>
                  <a:lnTo>
                    <a:pt x="1136" y="40"/>
                  </a:lnTo>
                  <a:lnTo>
                    <a:pt x="1134" y="40"/>
                  </a:lnTo>
                  <a:lnTo>
                    <a:pt x="1134" y="40"/>
                  </a:lnTo>
                  <a:lnTo>
                    <a:pt x="1132" y="40"/>
                  </a:lnTo>
                  <a:lnTo>
                    <a:pt x="1132" y="40"/>
                  </a:lnTo>
                  <a:lnTo>
                    <a:pt x="1128" y="38"/>
                  </a:lnTo>
                  <a:lnTo>
                    <a:pt x="1128" y="38"/>
                  </a:lnTo>
                  <a:lnTo>
                    <a:pt x="1124" y="38"/>
                  </a:lnTo>
                  <a:lnTo>
                    <a:pt x="1124" y="38"/>
                  </a:lnTo>
                  <a:lnTo>
                    <a:pt x="1124" y="38"/>
                  </a:lnTo>
                  <a:lnTo>
                    <a:pt x="1124" y="38"/>
                  </a:lnTo>
                  <a:lnTo>
                    <a:pt x="1122" y="38"/>
                  </a:lnTo>
                  <a:lnTo>
                    <a:pt x="1122" y="38"/>
                  </a:lnTo>
                  <a:lnTo>
                    <a:pt x="1120" y="40"/>
                  </a:lnTo>
                  <a:lnTo>
                    <a:pt x="1120" y="40"/>
                  </a:lnTo>
                  <a:lnTo>
                    <a:pt x="1114" y="42"/>
                  </a:lnTo>
                  <a:lnTo>
                    <a:pt x="1114" y="42"/>
                  </a:lnTo>
                  <a:lnTo>
                    <a:pt x="1112" y="44"/>
                  </a:lnTo>
                  <a:lnTo>
                    <a:pt x="1112" y="44"/>
                  </a:lnTo>
                  <a:lnTo>
                    <a:pt x="1104" y="42"/>
                  </a:lnTo>
                  <a:lnTo>
                    <a:pt x="1104" y="42"/>
                  </a:lnTo>
                  <a:lnTo>
                    <a:pt x="1102" y="44"/>
                  </a:lnTo>
                  <a:lnTo>
                    <a:pt x="1102" y="44"/>
                  </a:lnTo>
                  <a:lnTo>
                    <a:pt x="1096" y="44"/>
                  </a:lnTo>
                  <a:lnTo>
                    <a:pt x="1096" y="44"/>
                  </a:lnTo>
                  <a:lnTo>
                    <a:pt x="1094" y="42"/>
                  </a:lnTo>
                  <a:lnTo>
                    <a:pt x="1094" y="42"/>
                  </a:lnTo>
                  <a:lnTo>
                    <a:pt x="1090" y="44"/>
                  </a:lnTo>
                  <a:lnTo>
                    <a:pt x="1090" y="44"/>
                  </a:lnTo>
                  <a:lnTo>
                    <a:pt x="1088" y="44"/>
                  </a:lnTo>
                  <a:lnTo>
                    <a:pt x="1088" y="44"/>
                  </a:lnTo>
                  <a:lnTo>
                    <a:pt x="1088" y="44"/>
                  </a:lnTo>
                  <a:lnTo>
                    <a:pt x="1088" y="44"/>
                  </a:lnTo>
                  <a:lnTo>
                    <a:pt x="1080" y="44"/>
                  </a:lnTo>
                  <a:lnTo>
                    <a:pt x="1080" y="44"/>
                  </a:lnTo>
                  <a:lnTo>
                    <a:pt x="1078" y="44"/>
                  </a:lnTo>
                  <a:lnTo>
                    <a:pt x="1078" y="44"/>
                  </a:lnTo>
                  <a:lnTo>
                    <a:pt x="1072" y="44"/>
                  </a:lnTo>
                  <a:lnTo>
                    <a:pt x="1072" y="44"/>
                  </a:lnTo>
                  <a:lnTo>
                    <a:pt x="1068" y="44"/>
                  </a:lnTo>
                  <a:lnTo>
                    <a:pt x="1068" y="44"/>
                  </a:lnTo>
                  <a:lnTo>
                    <a:pt x="1066" y="42"/>
                  </a:lnTo>
                  <a:lnTo>
                    <a:pt x="1066" y="42"/>
                  </a:lnTo>
                  <a:lnTo>
                    <a:pt x="1064" y="42"/>
                  </a:lnTo>
                  <a:lnTo>
                    <a:pt x="1062" y="44"/>
                  </a:lnTo>
                  <a:lnTo>
                    <a:pt x="1062" y="44"/>
                  </a:lnTo>
                  <a:lnTo>
                    <a:pt x="1056" y="44"/>
                  </a:lnTo>
                  <a:lnTo>
                    <a:pt x="1056" y="44"/>
                  </a:lnTo>
                  <a:lnTo>
                    <a:pt x="1054" y="44"/>
                  </a:lnTo>
                  <a:lnTo>
                    <a:pt x="1054" y="44"/>
                  </a:lnTo>
                  <a:lnTo>
                    <a:pt x="1052" y="46"/>
                  </a:lnTo>
                  <a:lnTo>
                    <a:pt x="1052" y="46"/>
                  </a:lnTo>
                  <a:lnTo>
                    <a:pt x="1050" y="44"/>
                  </a:lnTo>
                  <a:lnTo>
                    <a:pt x="1050" y="44"/>
                  </a:lnTo>
                  <a:lnTo>
                    <a:pt x="1050" y="46"/>
                  </a:lnTo>
                  <a:lnTo>
                    <a:pt x="1050" y="46"/>
                  </a:lnTo>
                  <a:lnTo>
                    <a:pt x="1046" y="44"/>
                  </a:lnTo>
                  <a:lnTo>
                    <a:pt x="1046" y="44"/>
                  </a:lnTo>
                  <a:lnTo>
                    <a:pt x="1044" y="44"/>
                  </a:lnTo>
                  <a:lnTo>
                    <a:pt x="1044" y="44"/>
                  </a:lnTo>
                  <a:lnTo>
                    <a:pt x="1042" y="46"/>
                  </a:lnTo>
                  <a:lnTo>
                    <a:pt x="1042" y="46"/>
                  </a:lnTo>
                  <a:lnTo>
                    <a:pt x="1038" y="46"/>
                  </a:lnTo>
                  <a:lnTo>
                    <a:pt x="1038" y="46"/>
                  </a:lnTo>
                  <a:lnTo>
                    <a:pt x="1038" y="46"/>
                  </a:lnTo>
                  <a:lnTo>
                    <a:pt x="1038" y="46"/>
                  </a:lnTo>
                  <a:lnTo>
                    <a:pt x="1032" y="46"/>
                  </a:lnTo>
                  <a:lnTo>
                    <a:pt x="1032" y="46"/>
                  </a:lnTo>
                  <a:lnTo>
                    <a:pt x="1032" y="46"/>
                  </a:lnTo>
                  <a:lnTo>
                    <a:pt x="1032" y="46"/>
                  </a:lnTo>
                  <a:lnTo>
                    <a:pt x="1030" y="46"/>
                  </a:lnTo>
                  <a:lnTo>
                    <a:pt x="1030" y="46"/>
                  </a:lnTo>
                  <a:lnTo>
                    <a:pt x="1028" y="46"/>
                  </a:lnTo>
                  <a:lnTo>
                    <a:pt x="1028" y="46"/>
                  </a:lnTo>
                  <a:lnTo>
                    <a:pt x="1022" y="44"/>
                  </a:lnTo>
                  <a:lnTo>
                    <a:pt x="1022" y="44"/>
                  </a:lnTo>
                  <a:lnTo>
                    <a:pt x="1018" y="42"/>
                  </a:lnTo>
                  <a:lnTo>
                    <a:pt x="1018" y="42"/>
                  </a:lnTo>
                  <a:lnTo>
                    <a:pt x="1014" y="42"/>
                  </a:lnTo>
                  <a:lnTo>
                    <a:pt x="1014" y="42"/>
                  </a:lnTo>
                  <a:lnTo>
                    <a:pt x="1012" y="42"/>
                  </a:lnTo>
                  <a:lnTo>
                    <a:pt x="1012" y="42"/>
                  </a:lnTo>
                  <a:lnTo>
                    <a:pt x="1010" y="42"/>
                  </a:lnTo>
                  <a:lnTo>
                    <a:pt x="1010" y="42"/>
                  </a:lnTo>
                  <a:lnTo>
                    <a:pt x="1008" y="44"/>
                  </a:lnTo>
                  <a:lnTo>
                    <a:pt x="1008" y="44"/>
                  </a:lnTo>
                  <a:lnTo>
                    <a:pt x="1008" y="44"/>
                  </a:lnTo>
                  <a:lnTo>
                    <a:pt x="1006" y="44"/>
                  </a:lnTo>
                  <a:lnTo>
                    <a:pt x="1006" y="44"/>
                  </a:lnTo>
                  <a:lnTo>
                    <a:pt x="1002" y="44"/>
                  </a:lnTo>
                  <a:lnTo>
                    <a:pt x="1000" y="44"/>
                  </a:lnTo>
                  <a:lnTo>
                    <a:pt x="1000" y="44"/>
                  </a:lnTo>
                  <a:lnTo>
                    <a:pt x="996" y="44"/>
                  </a:lnTo>
                  <a:lnTo>
                    <a:pt x="996" y="44"/>
                  </a:lnTo>
                  <a:lnTo>
                    <a:pt x="996" y="42"/>
                  </a:lnTo>
                  <a:lnTo>
                    <a:pt x="996" y="42"/>
                  </a:lnTo>
                  <a:lnTo>
                    <a:pt x="992" y="42"/>
                  </a:lnTo>
                  <a:lnTo>
                    <a:pt x="992" y="42"/>
                  </a:lnTo>
                  <a:lnTo>
                    <a:pt x="992" y="40"/>
                  </a:lnTo>
                  <a:lnTo>
                    <a:pt x="992" y="40"/>
                  </a:lnTo>
                  <a:lnTo>
                    <a:pt x="992" y="40"/>
                  </a:lnTo>
                  <a:lnTo>
                    <a:pt x="992" y="40"/>
                  </a:lnTo>
                  <a:lnTo>
                    <a:pt x="990" y="40"/>
                  </a:lnTo>
                  <a:lnTo>
                    <a:pt x="990" y="40"/>
                  </a:lnTo>
                  <a:lnTo>
                    <a:pt x="988" y="40"/>
                  </a:lnTo>
                  <a:lnTo>
                    <a:pt x="988" y="40"/>
                  </a:lnTo>
                  <a:lnTo>
                    <a:pt x="982" y="42"/>
                  </a:lnTo>
                  <a:lnTo>
                    <a:pt x="982" y="42"/>
                  </a:lnTo>
                  <a:lnTo>
                    <a:pt x="980" y="40"/>
                  </a:lnTo>
                  <a:lnTo>
                    <a:pt x="980" y="40"/>
                  </a:lnTo>
                  <a:lnTo>
                    <a:pt x="974" y="42"/>
                  </a:lnTo>
                  <a:lnTo>
                    <a:pt x="968" y="42"/>
                  </a:lnTo>
                  <a:lnTo>
                    <a:pt x="968" y="42"/>
                  </a:lnTo>
                  <a:lnTo>
                    <a:pt x="966" y="42"/>
                  </a:lnTo>
                  <a:lnTo>
                    <a:pt x="966" y="42"/>
                  </a:lnTo>
                  <a:lnTo>
                    <a:pt x="966" y="40"/>
                  </a:lnTo>
                  <a:lnTo>
                    <a:pt x="966" y="40"/>
                  </a:lnTo>
                  <a:lnTo>
                    <a:pt x="964" y="40"/>
                  </a:lnTo>
                  <a:lnTo>
                    <a:pt x="964" y="40"/>
                  </a:lnTo>
                  <a:lnTo>
                    <a:pt x="960" y="42"/>
                  </a:lnTo>
                  <a:lnTo>
                    <a:pt x="960" y="42"/>
                  </a:lnTo>
                  <a:lnTo>
                    <a:pt x="956" y="44"/>
                  </a:lnTo>
                  <a:lnTo>
                    <a:pt x="956" y="44"/>
                  </a:lnTo>
                  <a:lnTo>
                    <a:pt x="956" y="44"/>
                  </a:lnTo>
                  <a:lnTo>
                    <a:pt x="956" y="44"/>
                  </a:lnTo>
                  <a:lnTo>
                    <a:pt x="952" y="44"/>
                  </a:lnTo>
                  <a:lnTo>
                    <a:pt x="952" y="44"/>
                  </a:lnTo>
                  <a:lnTo>
                    <a:pt x="950" y="46"/>
                  </a:lnTo>
                  <a:lnTo>
                    <a:pt x="950" y="46"/>
                  </a:lnTo>
                  <a:lnTo>
                    <a:pt x="950" y="46"/>
                  </a:lnTo>
                  <a:lnTo>
                    <a:pt x="950" y="46"/>
                  </a:lnTo>
                  <a:lnTo>
                    <a:pt x="948" y="46"/>
                  </a:lnTo>
                  <a:lnTo>
                    <a:pt x="948" y="46"/>
                  </a:lnTo>
                  <a:lnTo>
                    <a:pt x="942" y="46"/>
                  </a:lnTo>
                  <a:lnTo>
                    <a:pt x="942" y="46"/>
                  </a:lnTo>
                  <a:lnTo>
                    <a:pt x="936" y="44"/>
                  </a:lnTo>
                  <a:lnTo>
                    <a:pt x="936" y="44"/>
                  </a:lnTo>
                  <a:lnTo>
                    <a:pt x="934" y="42"/>
                  </a:lnTo>
                  <a:lnTo>
                    <a:pt x="934" y="42"/>
                  </a:lnTo>
                  <a:lnTo>
                    <a:pt x="930" y="42"/>
                  </a:lnTo>
                  <a:lnTo>
                    <a:pt x="930" y="42"/>
                  </a:lnTo>
                  <a:lnTo>
                    <a:pt x="930" y="40"/>
                  </a:lnTo>
                  <a:lnTo>
                    <a:pt x="930" y="40"/>
                  </a:lnTo>
                  <a:lnTo>
                    <a:pt x="922" y="42"/>
                  </a:lnTo>
                  <a:lnTo>
                    <a:pt x="912" y="42"/>
                  </a:lnTo>
                  <a:lnTo>
                    <a:pt x="912" y="42"/>
                  </a:lnTo>
                  <a:lnTo>
                    <a:pt x="910" y="44"/>
                  </a:lnTo>
                  <a:lnTo>
                    <a:pt x="910" y="44"/>
                  </a:lnTo>
                  <a:lnTo>
                    <a:pt x="908" y="44"/>
                  </a:lnTo>
                  <a:lnTo>
                    <a:pt x="908" y="44"/>
                  </a:lnTo>
                  <a:lnTo>
                    <a:pt x="908" y="44"/>
                  </a:lnTo>
                  <a:lnTo>
                    <a:pt x="908" y="44"/>
                  </a:lnTo>
                  <a:lnTo>
                    <a:pt x="902" y="46"/>
                  </a:lnTo>
                  <a:lnTo>
                    <a:pt x="902" y="46"/>
                  </a:lnTo>
                  <a:lnTo>
                    <a:pt x="900" y="44"/>
                  </a:lnTo>
                  <a:lnTo>
                    <a:pt x="900" y="44"/>
                  </a:lnTo>
                  <a:lnTo>
                    <a:pt x="896" y="44"/>
                  </a:lnTo>
                  <a:lnTo>
                    <a:pt x="892" y="44"/>
                  </a:lnTo>
                  <a:lnTo>
                    <a:pt x="892" y="44"/>
                  </a:lnTo>
                  <a:lnTo>
                    <a:pt x="890" y="44"/>
                  </a:lnTo>
                  <a:lnTo>
                    <a:pt x="890" y="44"/>
                  </a:lnTo>
                  <a:lnTo>
                    <a:pt x="888" y="46"/>
                  </a:lnTo>
                  <a:lnTo>
                    <a:pt x="888" y="46"/>
                  </a:lnTo>
                  <a:lnTo>
                    <a:pt x="882" y="44"/>
                  </a:lnTo>
                  <a:lnTo>
                    <a:pt x="882" y="44"/>
                  </a:lnTo>
                  <a:lnTo>
                    <a:pt x="876" y="42"/>
                  </a:lnTo>
                  <a:lnTo>
                    <a:pt x="876" y="42"/>
                  </a:lnTo>
                  <a:lnTo>
                    <a:pt x="874" y="42"/>
                  </a:lnTo>
                  <a:lnTo>
                    <a:pt x="870" y="42"/>
                  </a:lnTo>
                  <a:lnTo>
                    <a:pt x="870" y="42"/>
                  </a:lnTo>
                  <a:lnTo>
                    <a:pt x="866" y="44"/>
                  </a:lnTo>
                  <a:lnTo>
                    <a:pt x="866" y="44"/>
                  </a:lnTo>
                  <a:lnTo>
                    <a:pt x="862" y="46"/>
                  </a:lnTo>
                  <a:lnTo>
                    <a:pt x="862" y="46"/>
                  </a:lnTo>
                  <a:lnTo>
                    <a:pt x="858" y="46"/>
                  </a:lnTo>
                  <a:lnTo>
                    <a:pt x="858" y="46"/>
                  </a:lnTo>
                  <a:lnTo>
                    <a:pt x="856" y="44"/>
                  </a:lnTo>
                  <a:lnTo>
                    <a:pt x="856" y="44"/>
                  </a:lnTo>
                  <a:lnTo>
                    <a:pt x="852" y="44"/>
                  </a:lnTo>
                  <a:lnTo>
                    <a:pt x="852" y="44"/>
                  </a:lnTo>
                  <a:lnTo>
                    <a:pt x="850" y="44"/>
                  </a:lnTo>
                  <a:lnTo>
                    <a:pt x="850" y="44"/>
                  </a:lnTo>
                  <a:lnTo>
                    <a:pt x="848" y="40"/>
                  </a:lnTo>
                  <a:lnTo>
                    <a:pt x="846" y="40"/>
                  </a:lnTo>
                  <a:lnTo>
                    <a:pt x="846" y="40"/>
                  </a:lnTo>
                  <a:lnTo>
                    <a:pt x="844" y="42"/>
                  </a:lnTo>
                  <a:lnTo>
                    <a:pt x="844" y="42"/>
                  </a:lnTo>
                  <a:lnTo>
                    <a:pt x="840" y="42"/>
                  </a:lnTo>
                  <a:lnTo>
                    <a:pt x="836" y="40"/>
                  </a:lnTo>
                  <a:lnTo>
                    <a:pt x="836" y="40"/>
                  </a:lnTo>
                  <a:lnTo>
                    <a:pt x="834" y="38"/>
                  </a:lnTo>
                  <a:lnTo>
                    <a:pt x="834" y="38"/>
                  </a:lnTo>
                  <a:lnTo>
                    <a:pt x="830" y="40"/>
                  </a:lnTo>
                  <a:lnTo>
                    <a:pt x="828" y="38"/>
                  </a:lnTo>
                  <a:lnTo>
                    <a:pt x="828" y="38"/>
                  </a:lnTo>
                  <a:lnTo>
                    <a:pt x="820" y="40"/>
                  </a:lnTo>
                  <a:lnTo>
                    <a:pt x="820" y="40"/>
                  </a:lnTo>
                  <a:lnTo>
                    <a:pt x="820" y="40"/>
                  </a:lnTo>
                  <a:lnTo>
                    <a:pt x="820" y="40"/>
                  </a:lnTo>
                  <a:lnTo>
                    <a:pt x="816" y="42"/>
                  </a:lnTo>
                  <a:lnTo>
                    <a:pt x="816" y="42"/>
                  </a:lnTo>
                  <a:lnTo>
                    <a:pt x="812" y="40"/>
                  </a:lnTo>
                  <a:lnTo>
                    <a:pt x="812" y="40"/>
                  </a:lnTo>
                  <a:lnTo>
                    <a:pt x="808" y="40"/>
                  </a:lnTo>
                  <a:lnTo>
                    <a:pt x="808" y="40"/>
                  </a:lnTo>
                  <a:lnTo>
                    <a:pt x="806" y="40"/>
                  </a:lnTo>
                  <a:lnTo>
                    <a:pt x="806" y="40"/>
                  </a:lnTo>
                  <a:lnTo>
                    <a:pt x="804" y="40"/>
                  </a:lnTo>
                  <a:lnTo>
                    <a:pt x="804" y="40"/>
                  </a:lnTo>
                  <a:lnTo>
                    <a:pt x="802" y="38"/>
                  </a:lnTo>
                  <a:lnTo>
                    <a:pt x="802" y="38"/>
                  </a:lnTo>
                  <a:lnTo>
                    <a:pt x="800" y="40"/>
                  </a:lnTo>
                  <a:lnTo>
                    <a:pt x="800" y="40"/>
                  </a:lnTo>
                  <a:lnTo>
                    <a:pt x="800" y="40"/>
                  </a:lnTo>
                  <a:lnTo>
                    <a:pt x="794" y="42"/>
                  </a:lnTo>
                  <a:lnTo>
                    <a:pt x="794" y="42"/>
                  </a:lnTo>
                  <a:lnTo>
                    <a:pt x="792" y="40"/>
                  </a:lnTo>
                  <a:lnTo>
                    <a:pt x="792" y="40"/>
                  </a:lnTo>
                  <a:lnTo>
                    <a:pt x="790" y="40"/>
                  </a:lnTo>
                  <a:lnTo>
                    <a:pt x="790" y="40"/>
                  </a:lnTo>
                  <a:lnTo>
                    <a:pt x="790" y="40"/>
                  </a:lnTo>
                  <a:lnTo>
                    <a:pt x="788" y="42"/>
                  </a:lnTo>
                  <a:lnTo>
                    <a:pt x="788" y="42"/>
                  </a:lnTo>
                  <a:lnTo>
                    <a:pt x="786" y="42"/>
                  </a:lnTo>
                  <a:lnTo>
                    <a:pt x="786" y="42"/>
                  </a:lnTo>
                  <a:lnTo>
                    <a:pt x="782" y="40"/>
                  </a:lnTo>
                  <a:lnTo>
                    <a:pt x="782" y="40"/>
                  </a:lnTo>
                  <a:lnTo>
                    <a:pt x="778" y="40"/>
                  </a:lnTo>
                  <a:lnTo>
                    <a:pt x="778" y="40"/>
                  </a:lnTo>
                  <a:lnTo>
                    <a:pt x="776" y="42"/>
                  </a:lnTo>
                  <a:lnTo>
                    <a:pt x="772" y="42"/>
                  </a:lnTo>
                  <a:lnTo>
                    <a:pt x="772" y="42"/>
                  </a:lnTo>
                  <a:lnTo>
                    <a:pt x="770" y="42"/>
                  </a:lnTo>
                  <a:lnTo>
                    <a:pt x="770" y="42"/>
                  </a:lnTo>
                  <a:lnTo>
                    <a:pt x="766" y="40"/>
                  </a:lnTo>
                  <a:lnTo>
                    <a:pt x="766" y="40"/>
                  </a:lnTo>
                  <a:lnTo>
                    <a:pt x="764" y="40"/>
                  </a:lnTo>
                  <a:lnTo>
                    <a:pt x="764" y="40"/>
                  </a:lnTo>
                  <a:lnTo>
                    <a:pt x="762" y="42"/>
                  </a:lnTo>
                  <a:lnTo>
                    <a:pt x="762" y="42"/>
                  </a:lnTo>
                  <a:lnTo>
                    <a:pt x="758" y="42"/>
                  </a:lnTo>
                  <a:lnTo>
                    <a:pt x="758" y="42"/>
                  </a:lnTo>
                  <a:lnTo>
                    <a:pt x="756" y="42"/>
                  </a:lnTo>
                  <a:lnTo>
                    <a:pt x="756" y="42"/>
                  </a:lnTo>
                  <a:lnTo>
                    <a:pt x="752" y="42"/>
                  </a:lnTo>
                  <a:lnTo>
                    <a:pt x="752" y="42"/>
                  </a:lnTo>
                  <a:lnTo>
                    <a:pt x="744" y="44"/>
                  </a:lnTo>
                  <a:lnTo>
                    <a:pt x="744" y="44"/>
                  </a:lnTo>
                  <a:lnTo>
                    <a:pt x="738" y="42"/>
                  </a:lnTo>
                  <a:lnTo>
                    <a:pt x="738" y="42"/>
                  </a:lnTo>
                  <a:lnTo>
                    <a:pt x="734" y="40"/>
                  </a:lnTo>
                  <a:lnTo>
                    <a:pt x="734" y="40"/>
                  </a:lnTo>
                  <a:lnTo>
                    <a:pt x="732" y="42"/>
                  </a:lnTo>
                  <a:lnTo>
                    <a:pt x="732" y="42"/>
                  </a:lnTo>
                  <a:lnTo>
                    <a:pt x="728" y="42"/>
                  </a:lnTo>
                  <a:lnTo>
                    <a:pt x="726" y="42"/>
                  </a:lnTo>
                  <a:lnTo>
                    <a:pt x="726" y="42"/>
                  </a:lnTo>
                  <a:lnTo>
                    <a:pt x="724" y="42"/>
                  </a:lnTo>
                  <a:lnTo>
                    <a:pt x="724" y="42"/>
                  </a:lnTo>
                  <a:lnTo>
                    <a:pt x="720" y="42"/>
                  </a:lnTo>
                  <a:lnTo>
                    <a:pt x="720" y="42"/>
                  </a:lnTo>
                  <a:lnTo>
                    <a:pt x="718" y="42"/>
                  </a:lnTo>
                  <a:lnTo>
                    <a:pt x="718" y="42"/>
                  </a:lnTo>
                  <a:lnTo>
                    <a:pt x="712" y="42"/>
                  </a:lnTo>
                  <a:lnTo>
                    <a:pt x="712" y="42"/>
                  </a:lnTo>
                  <a:lnTo>
                    <a:pt x="710" y="42"/>
                  </a:lnTo>
                  <a:lnTo>
                    <a:pt x="710" y="42"/>
                  </a:lnTo>
                  <a:lnTo>
                    <a:pt x="706" y="42"/>
                  </a:lnTo>
                  <a:lnTo>
                    <a:pt x="706" y="42"/>
                  </a:lnTo>
                  <a:lnTo>
                    <a:pt x="704" y="44"/>
                  </a:lnTo>
                  <a:lnTo>
                    <a:pt x="704" y="44"/>
                  </a:lnTo>
                  <a:lnTo>
                    <a:pt x="702" y="42"/>
                  </a:lnTo>
                  <a:lnTo>
                    <a:pt x="702" y="42"/>
                  </a:lnTo>
                  <a:lnTo>
                    <a:pt x="696" y="44"/>
                  </a:lnTo>
                  <a:lnTo>
                    <a:pt x="696" y="44"/>
                  </a:lnTo>
                  <a:lnTo>
                    <a:pt x="692" y="44"/>
                  </a:lnTo>
                  <a:lnTo>
                    <a:pt x="692" y="44"/>
                  </a:lnTo>
                  <a:lnTo>
                    <a:pt x="690" y="44"/>
                  </a:lnTo>
                  <a:lnTo>
                    <a:pt x="690" y="44"/>
                  </a:lnTo>
                  <a:lnTo>
                    <a:pt x="688" y="44"/>
                  </a:lnTo>
                  <a:lnTo>
                    <a:pt x="688" y="44"/>
                  </a:lnTo>
                  <a:lnTo>
                    <a:pt x="686" y="44"/>
                  </a:lnTo>
                  <a:lnTo>
                    <a:pt x="686" y="44"/>
                  </a:lnTo>
                  <a:lnTo>
                    <a:pt x="680" y="44"/>
                  </a:lnTo>
                  <a:lnTo>
                    <a:pt x="680" y="44"/>
                  </a:lnTo>
                  <a:lnTo>
                    <a:pt x="676" y="44"/>
                  </a:lnTo>
                  <a:lnTo>
                    <a:pt x="676" y="44"/>
                  </a:lnTo>
                  <a:lnTo>
                    <a:pt x="668" y="44"/>
                  </a:lnTo>
                  <a:lnTo>
                    <a:pt x="660" y="42"/>
                  </a:lnTo>
                  <a:lnTo>
                    <a:pt x="660" y="42"/>
                  </a:lnTo>
                  <a:lnTo>
                    <a:pt x="658" y="42"/>
                  </a:lnTo>
                  <a:lnTo>
                    <a:pt x="658" y="42"/>
                  </a:lnTo>
                  <a:lnTo>
                    <a:pt x="654" y="42"/>
                  </a:lnTo>
                  <a:lnTo>
                    <a:pt x="652" y="42"/>
                  </a:lnTo>
                  <a:lnTo>
                    <a:pt x="652" y="42"/>
                  </a:lnTo>
                  <a:lnTo>
                    <a:pt x="648" y="42"/>
                  </a:lnTo>
                  <a:lnTo>
                    <a:pt x="648" y="42"/>
                  </a:lnTo>
                  <a:lnTo>
                    <a:pt x="646" y="42"/>
                  </a:lnTo>
                  <a:lnTo>
                    <a:pt x="646" y="42"/>
                  </a:lnTo>
                  <a:lnTo>
                    <a:pt x="636" y="42"/>
                  </a:lnTo>
                  <a:lnTo>
                    <a:pt x="636" y="42"/>
                  </a:lnTo>
                  <a:lnTo>
                    <a:pt x="636" y="42"/>
                  </a:lnTo>
                  <a:lnTo>
                    <a:pt x="636" y="42"/>
                  </a:lnTo>
                  <a:lnTo>
                    <a:pt x="636" y="42"/>
                  </a:lnTo>
                  <a:lnTo>
                    <a:pt x="636" y="42"/>
                  </a:lnTo>
                  <a:lnTo>
                    <a:pt x="636" y="42"/>
                  </a:lnTo>
                  <a:lnTo>
                    <a:pt x="636" y="42"/>
                  </a:lnTo>
                  <a:lnTo>
                    <a:pt x="634" y="42"/>
                  </a:lnTo>
                  <a:lnTo>
                    <a:pt x="634" y="42"/>
                  </a:lnTo>
                  <a:lnTo>
                    <a:pt x="630" y="42"/>
                  </a:lnTo>
                  <a:lnTo>
                    <a:pt x="630" y="42"/>
                  </a:lnTo>
                  <a:lnTo>
                    <a:pt x="628" y="42"/>
                  </a:lnTo>
                  <a:lnTo>
                    <a:pt x="628" y="42"/>
                  </a:lnTo>
                  <a:lnTo>
                    <a:pt x="622" y="42"/>
                  </a:lnTo>
                  <a:lnTo>
                    <a:pt x="622" y="42"/>
                  </a:lnTo>
                  <a:lnTo>
                    <a:pt x="614" y="42"/>
                  </a:lnTo>
                  <a:lnTo>
                    <a:pt x="614" y="42"/>
                  </a:lnTo>
                  <a:lnTo>
                    <a:pt x="612" y="42"/>
                  </a:lnTo>
                  <a:lnTo>
                    <a:pt x="608" y="42"/>
                  </a:lnTo>
                  <a:lnTo>
                    <a:pt x="608" y="42"/>
                  </a:lnTo>
                  <a:lnTo>
                    <a:pt x="608" y="42"/>
                  </a:lnTo>
                  <a:lnTo>
                    <a:pt x="608" y="42"/>
                  </a:lnTo>
                  <a:lnTo>
                    <a:pt x="606" y="42"/>
                  </a:lnTo>
                  <a:lnTo>
                    <a:pt x="606" y="42"/>
                  </a:lnTo>
                  <a:lnTo>
                    <a:pt x="604" y="42"/>
                  </a:lnTo>
                  <a:lnTo>
                    <a:pt x="604" y="42"/>
                  </a:lnTo>
                  <a:lnTo>
                    <a:pt x="600" y="42"/>
                  </a:lnTo>
                  <a:lnTo>
                    <a:pt x="600" y="42"/>
                  </a:lnTo>
                  <a:lnTo>
                    <a:pt x="596" y="42"/>
                  </a:lnTo>
                  <a:lnTo>
                    <a:pt x="596" y="42"/>
                  </a:lnTo>
                  <a:lnTo>
                    <a:pt x="594" y="42"/>
                  </a:lnTo>
                  <a:lnTo>
                    <a:pt x="594" y="42"/>
                  </a:lnTo>
                  <a:lnTo>
                    <a:pt x="588" y="42"/>
                  </a:lnTo>
                  <a:lnTo>
                    <a:pt x="588" y="42"/>
                  </a:lnTo>
                  <a:lnTo>
                    <a:pt x="586" y="42"/>
                  </a:lnTo>
                  <a:lnTo>
                    <a:pt x="586" y="42"/>
                  </a:lnTo>
                  <a:lnTo>
                    <a:pt x="582" y="42"/>
                  </a:lnTo>
                  <a:lnTo>
                    <a:pt x="582" y="42"/>
                  </a:lnTo>
                  <a:lnTo>
                    <a:pt x="580" y="42"/>
                  </a:lnTo>
                  <a:lnTo>
                    <a:pt x="580" y="42"/>
                  </a:lnTo>
                  <a:lnTo>
                    <a:pt x="576" y="42"/>
                  </a:lnTo>
                  <a:lnTo>
                    <a:pt x="576" y="42"/>
                  </a:lnTo>
                  <a:lnTo>
                    <a:pt x="574" y="42"/>
                  </a:lnTo>
                  <a:lnTo>
                    <a:pt x="574" y="42"/>
                  </a:lnTo>
                  <a:lnTo>
                    <a:pt x="570" y="42"/>
                  </a:lnTo>
                  <a:lnTo>
                    <a:pt x="570" y="42"/>
                  </a:lnTo>
                  <a:lnTo>
                    <a:pt x="566" y="42"/>
                  </a:lnTo>
                  <a:lnTo>
                    <a:pt x="566" y="42"/>
                  </a:lnTo>
                  <a:lnTo>
                    <a:pt x="564" y="42"/>
                  </a:lnTo>
                  <a:lnTo>
                    <a:pt x="564" y="42"/>
                  </a:lnTo>
                  <a:lnTo>
                    <a:pt x="560" y="42"/>
                  </a:lnTo>
                  <a:lnTo>
                    <a:pt x="560" y="42"/>
                  </a:lnTo>
                  <a:lnTo>
                    <a:pt x="542" y="42"/>
                  </a:lnTo>
                  <a:lnTo>
                    <a:pt x="542" y="42"/>
                  </a:lnTo>
                  <a:lnTo>
                    <a:pt x="540" y="44"/>
                  </a:lnTo>
                  <a:lnTo>
                    <a:pt x="540" y="44"/>
                  </a:lnTo>
                  <a:lnTo>
                    <a:pt x="536" y="42"/>
                  </a:lnTo>
                  <a:lnTo>
                    <a:pt x="532" y="44"/>
                  </a:lnTo>
                  <a:lnTo>
                    <a:pt x="532" y="44"/>
                  </a:lnTo>
                  <a:lnTo>
                    <a:pt x="528" y="42"/>
                  </a:lnTo>
                  <a:lnTo>
                    <a:pt x="528" y="42"/>
                  </a:lnTo>
                  <a:lnTo>
                    <a:pt x="528" y="42"/>
                  </a:lnTo>
                  <a:lnTo>
                    <a:pt x="526" y="44"/>
                  </a:lnTo>
                  <a:lnTo>
                    <a:pt x="526" y="44"/>
                  </a:lnTo>
                  <a:lnTo>
                    <a:pt x="518" y="44"/>
                  </a:lnTo>
                  <a:lnTo>
                    <a:pt x="518" y="44"/>
                  </a:lnTo>
                  <a:lnTo>
                    <a:pt x="514" y="46"/>
                  </a:lnTo>
                  <a:lnTo>
                    <a:pt x="514" y="46"/>
                  </a:lnTo>
                  <a:lnTo>
                    <a:pt x="510" y="46"/>
                  </a:lnTo>
                  <a:lnTo>
                    <a:pt x="510" y="46"/>
                  </a:lnTo>
                  <a:lnTo>
                    <a:pt x="508" y="46"/>
                  </a:lnTo>
                  <a:lnTo>
                    <a:pt x="508" y="46"/>
                  </a:lnTo>
                  <a:lnTo>
                    <a:pt x="504" y="46"/>
                  </a:lnTo>
                  <a:lnTo>
                    <a:pt x="504" y="46"/>
                  </a:lnTo>
                  <a:lnTo>
                    <a:pt x="500" y="46"/>
                  </a:lnTo>
                  <a:lnTo>
                    <a:pt x="500" y="46"/>
                  </a:lnTo>
                  <a:lnTo>
                    <a:pt x="500" y="46"/>
                  </a:lnTo>
                  <a:lnTo>
                    <a:pt x="500" y="46"/>
                  </a:lnTo>
                  <a:lnTo>
                    <a:pt x="498" y="46"/>
                  </a:lnTo>
                  <a:lnTo>
                    <a:pt x="498" y="46"/>
                  </a:lnTo>
                  <a:lnTo>
                    <a:pt x="498" y="46"/>
                  </a:lnTo>
                  <a:lnTo>
                    <a:pt x="498" y="46"/>
                  </a:lnTo>
                  <a:lnTo>
                    <a:pt x="498" y="46"/>
                  </a:lnTo>
                  <a:lnTo>
                    <a:pt x="498" y="46"/>
                  </a:lnTo>
                  <a:lnTo>
                    <a:pt x="496" y="46"/>
                  </a:lnTo>
                  <a:lnTo>
                    <a:pt x="496" y="46"/>
                  </a:lnTo>
                  <a:lnTo>
                    <a:pt x="494" y="46"/>
                  </a:lnTo>
                  <a:lnTo>
                    <a:pt x="494" y="46"/>
                  </a:lnTo>
                  <a:lnTo>
                    <a:pt x="490" y="46"/>
                  </a:lnTo>
                  <a:lnTo>
                    <a:pt x="490" y="46"/>
                  </a:lnTo>
                  <a:lnTo>
                    <a:pt x="486" y="44"/>
                  </a:lnTo>
                  <a:lnTo>
                    <a:pt x="486" y="44"/>
                  </a:lnTo>
                  <a:lnTo>
                    <a:pt x="484" y="44"/>
                  </a:lnTo>
                  <a:lnTo>
                    <a:pt x="484" y="44"/>
                  </a:lnTo>
                  <a:lnTo>
                    <a:pt x="482" y="44"/>
                  </a:lnTo>
                  <a:lnTo>
                    <a:pt x="482" y="44"/>
                  </a:lnTo>
                  <a:lnTo>
                    <a:pt x="478" y="44"/>
                  </a:lnTo>
                  <a:lnTo>
                    <a:pt x="478" y="44"/>
                  </a:lnTo>
                  <a:lnTo>
                    <a:pt x="476" y="44"/>
                  </a:lnTo>
                  <a:lnTo>
                    <a:pt x="476" y="44"/>
                  </a:lnTo>
                  <a:lnTo>
                    <a:pt x="472" y="46"/>
                  </a:lnTo>
                  <a:lnTo>
                    <a:pt x="468" y="44"/>
                  </a:lnTo>
                  <a:lnTo>
                    <a:pt x="468" y="44"/>
                  </a:lnTo>
                  <a:lnTo>
                    <a:pt x="466" y="46"/>
                  </a:lnTo>
                  <a:lnTo>
                    <a:pt x="464" y="46"/>
                  </a:lnTo>
                  <a:lnTo>
                    <a:pt x="464" y="46"/>
                  </a:lnTo>
                  <a:lnTo>
                    <a:pt x="464" y="44"/>
                  </a:lnTo>
                  <a:lnTo>
                    <a:pt x="464" y="44"/>
                  </a:lnTo>
                  <a:lnTo>
                    <a:pt x="462" y="44"/>
                  </a:lnTo>
                  <a:lnTo>
                    <a:pt x="462" y="44"/>
                  </a:lnTo>
                  <a:lnTo>
                    <a:pt x="462" y="42"/>
                  </a:lnTo>
                  <a:lnTo>
                    <a:pt x="462" y="42"/>
                  </a:lnTo>
                  <a:lnTo>
                    <a:pt x="456" y="42"/>
                  </a:lnTo>
                  <a:lnTo>
                    <a:pt x="456" y="42"/>
                  </a:lnTo>
                  <a:lnTo>
                    <a:pt x="450" y="42"/>
                  </a:lnTo>
                  <a:lnTo>
                    <a:pt x="450" y="42"/>
                  </a:lnTo>
                  <a:lnTo>
                    <a:pt x="448" y="44"/>
                  </a:lnTo>
                  <a:lnTo>
                    <a:pt x="448" y="44"/>
                  </a:lnTo>
                  <a:lnTo>
                    <a:pt x="442" y="44"/>
                  </a:lnTo>
                  <a:lnTo>
                    <a:pt x="442" y="44"/>
                  </a:lnTo>
                  <a:lnTo>
                    <a:pt x="438" y="44"/>
                  </a:lnTo>
                  <a:lnTo>
                    <a:pt x="438" y="44"/>
                  </a:lnTo>
                  <a:lnTo>
                    <a:pt x="436" y="46"/>
                  </a:lnTo>
                  <a:lnTo>
                    <a:pt x="436" y="46"/>
                  </a:lnTo>
                  <a:lnTo>
                    <a:pt x="432" y="44"/>
                  </a:lnTo>
                  <a:lnTo>
                    <a:pt x="432" y="44"/>
                  </a:lnTo>
                  <a:lnTo>
                    <a:pt x="428" y="44"/>
                  </a:lnTo>
                  <a:lnTo>
                    <a:pt x="428" y="44"/>
                  </a:lnTo>
                  <a:lnTo>
                    <a:pt x="428" y="44"/>
                  </a:lnTo>
                  <a:lnTo>
                    <a:pt x="428" y="44"/>
                  </a:lnTo>
                  <a:lnTo>
                    <a:pt x="426" y="44"/>
                  </a:lnTo>
                  <a:lnTo>
                    <a:pt x="426" y="44"/>
                  </a:lnTo>
                  <a:lnTo>
                    <a:pt x="426" y="44"/>
                  </a:lnTo>
                  <a:lnTo>
                    <a:pt x="426" y="44"/>
                  </a:lnTo>
                  <a:lnTo>
                    <a:pt x="420" y="42"/>
                  </a:lnTo>
                  <a:lnTo>
                    <a:pt x="420" y="42"/>
                  </a:lnTo>
                  <a:lnTo>
                    <a:pt x="418" y="44"/>
                  </a:lnTo>
                  <a:lnTo>
                    <a:pt x="418" y="44"/>
                  </a:lnTo>
                  <a:lnTo>
                    <a:pt x="416" y="42"/>
                  </a:lnTo>
                  <a:lnTo>
                    <a:pt x="416" y="40"/>
                  </a:lnTo>
                  <a:lnTo>
                    <a:pt x="416" y="40"/>
                  </a:lnTo>
                  <a:lnTo>
                    <a:pt x="412" y="40"/>
                  </a:lnTo>
                  <a:lnTo>
                    <a:pt x="412" y="40"/>
                  </a:lnTo>
                  <a:lnTo>
                    <a:pt x="412" y="42"/>
                  </a:lnTo>
                  <a:lnTo>
                    <a:pt x="412" y="42"/>
                  </a:lnTo>
                  <a:lnTo>
                    <a:pt x="410" y="44"/>
                  </a:lnTo>
                  <a:lnTo>
                    <a:pt x="410" y="44"/>
                  </a:lnTo>
                  <a:lnTo>
                    <a:pt x="404" y="44"/>
                  </a:lnTo>
                  <a:lnTo>
                    <a:pt x="404" y="44"/>
                  </a:lnTo>
                  <a:lnTo>
                    <a:pt x="400" y="44"/>
                  </a:lnTo>
                  <a:lnTo>
                    <a:pt x="400" y="44"/>
                  </a:lnTo>
                  <a:lnTo>
                    <a:pt x="396" y="42"/>
                  </a:lnTo>
                  <a:lnTo>
                    <a:pt x="396" y="42"/>
                  </a:lnTo>
                  <a:lnTo>
                    <a:pt x="394" y="44"/>
                  </a:lnTo>
                  <a:lnTo>
                    <a:pt x="394" y="44"/>
                  </a:lnTo>
                  <a:lnTo>
                    <a:pt x="390" y="44"/>
                  </a:lnTo>
                  <a:lnTo>
                    <a:pt x="390" y="44"/>
                  </a:lnTo>
                  <a:lnTo>
                    <a:pt x="386" y="42"/>
                  </a:lnTo>
                  <a:lnTo>
                    <a:pt x="386" y="42"/>
                  </a:lnTo>
                  <a:lnTo>
                    <a:pt x="376" y="44"/>
                  </a:lnTo>
                  <a:lnTo>
                    <a:pt x="376" y="44"/>
                  </a:lnTo>
                  <a:lnTo>
                    <a:pt x="374" y="42"/>
                  </a:lnTo>
                  <a:lnTo>
                    <a:pt x="374" y="42"/>
                  </a:lnTo>
                  <a:lnTo>
                    <a:pt x="368" y="42"/>
                  </a:lnTo>
                  <a:lnTo>
                    <a:pt x="368" y="42"/>
                  </a:lnTo>
                  <a:lnTo>
                    <a:pt x="366" y="42"/>
                  </a:lnTo>
                  <a:lnTo>
                    <a:pt x="366" y="42"/>
                  </a:lnTo>
                  <a:lnTo>
                    <a:pt x="362" y="42"/>
                  </a:lnTo>
                  <a:lnTo>
                    <a:pt x="362" y="42"/>
                  </a:lnTo>
                  <a:lnTo>
                    <a:pt x="362" y="42"/>
                  </a:lnTo>
                  <a:lnTo>
                    <a:pt x="362" y="42"/>
                  </a:lnTo>
                  <a:lnTo>
                    <a:pt x="362" y="42"/>
                  </a:lnTo>
                  <a:lnTo>
                    <a:pt x="362" y="42"/>
                  </a:lnTo>
                  <a:lnTo>
                    <a:pt x="360" y="42"/>
                  </a:lnTo>
                  <a:lnTo>
                    <a:pt x="360" y="42"/>
                  </a:lnTo>
                  <a:lnTo>
                    <a:pt x="358" y="42"/>
                  </a:lnTo>
                  <a:lnTo>
                    <a:pt x="358" y="42"/>
                  </a:lnTo>
                  <a:lnTo>
                    <a:pt x="352" y="44"/>
                  </a:lnTo>
                  <a:lnTo>
                    <a:pt x="352" y="44"/>
                  </a:lnTo>
                  <a:lnTo>
                    <a:pt x="344" y="42"/>
                  </a:lnTo>
                  <a:lnTo>
                    <a:pt x="344" y="42"/>
                  </a:lnTo>
                  <a:lnTo>
                    <a:pt x="342" y="44"/>
                  </a:lnTo>
                  <a:lnTo>
                    <a:pt x="342" y="44"/>
                  </a:lnTo>
                  <a:lnTo>
                    <a:pt x="338" y="42"/>
                  </a:lnTo>
                  <a:lnTo>
                    <a:pt x="338" y="42"/>
                  </a:lnTo>
                  <a:lnTo>
                    <a:pt x="330" y="44"/>
                  </a:lnTo>
                  <a:lnTo>
                    <a:pt x="330" y="44"/>
                  </a:lnTo>
                  <a:lnTo>
                    <a:pt x="328" y="44"/>
                  </a:lnTo>
                  <a:lnTo>
                    <a:pt x="328" y="44"/>
                  </a:lnTo>
                  <a:lnTo>
                    <a:pt x="322" y="42"/>
                  </a:lnTo>
                  <a:lnTo>
                    <a:pt x="322" y="42"/>
                  </a:lnTo>
                  <a:lnTo>
                    <a:pt x="316" y="42"/>
                  </a:lnTo>
                  <a:lnTo>
                    <a:pt x="316" y="42"/>
                  </a:lnTo>
                  <a:lnTo>
                    <a:pt x="316" y="42"/>
                  </a:lnTo>
                  <a:lnTo>
                    <a:pt x="316" y="42"/>
                  </a:lnTo>
                  <a:lnTo>
                    <a:pt x="316" y="42"/>
                  </a:lnTo>
                  <a:lnTo>
                    <a:pt x="316" y="42"/>
                  </a:lnTo>
                  <a:lnTo>
                    <a:pt x="314" y="42"/>
                  </a:lnTo>
                  <a:lnTo>
                    <a:pt x="314" y="42"/>
                  </a:lnTo>
                  <a:lnTo>
                    <a:pt x="310" y="42"/>
                  </a:lnTo>
                  <a:lnTo>
                    <a:pt x="310" y="42"/>
                  </a:lnTo>
                  <a:lnTo>
                    <a:pt x="310" y="40"/>
                  </a:lnTo>
                  <a:lnTo>
                    <a:pt x="310" y="40"/>
                  </a:lnTo>
                  <a:lnTo>
                    <a:pt x="308" y="40"/>
                  </a:lnTo>
                  <a:lnTo>
                    <a:pt x="308" y="42"/>
                  </a:lnTo>
                  <a:lnTo>
                    <a:pt x="308" y="42"/>
                  </a:lnTo>
                  <a:lnTo>
                    <a:pt x="306" y="42"/>
                  </a:lnTo>
                  <a:lnTo>
                    <a:pt x="306" y="42"/>
                  </a:lnTo>
                  <a:lnTo>
                    <a:pt x="298" y="42"/>
                  </a:lnTo>
                  <a:lnTo>
                    <a:pt x="298" y="42"/>
                  </a:lnTo>
                  <a:lnTo>
                    <a:pt x="296" y="42"/>
                  </a:lnTo>
                  <a:lnTo>
                    <a:pt x="296" y="42"/>
                  </a:lnTo>
                  <a:lnTo>
                    <a:pt x="294" y="42"/>
                  </a:lnTo>
                  <a:lnTo>
                    <a:pt x="294" y="42"/>
                  </a:lnTo>
                  <a:lnTo>
                    <a:pt x="290" y="42"/>
                  </a:lnTo>
                  <a:lnTo>
                    <a:pt x="290" y="42"/>
                  </a:lnTo>
                  <a:lnTo>
                    <a:pt x="288" y="42"/>
                  </a:lnTo>
                  <a:lnTo>
                    <a:pt x="288" y="42"/>
                  </a:lnTo>
                  <a:lnTo>
                    <a:pt x="286" y="42"/>
                  </a:lnTo>
                  <a:lnTo>
                    <a:pt x="286" y="42"/>
                  </a:lnTo>
                  <a:lnTo>
                    <a:pt x="286" y="40"/>
                  </a:lnTo>
                  <a:lnTo>
                    <a:pt x="286" y="40"/>
                  </a:lnTo>
                  <a:lnTo>
                    <a:pt x="282" y="42"/>
                  </a:lnTo>
                  <a:lnTo>
                    <a:pt x="282" y="42"/>
                  </a:lnTo>
                  <a:lnTo>
                    <a:pt x="278" y="40"/>
                  </a:lnTo>
                  <a:lnTo>
                    <a:pt x="278" y="40"/>
                  </a:lnTo>
                  <a:lnTo>
                    <a:pt x="276" y="40"/>
                  </a:lnTo>
                  <a:lnTo>
                    <a:pt x="274" y="40"/>
                  </a:lnTo>
                  <a:lnTo>
                    <a:pt x="274" y="40"/>
                  </a:lnTo>
                  <a:lnTo>
                    <a:pt x="270" y="40"/>
                  </a:lnTo>
                  <a:lnTo>
                    <a:pt x="270" y="40"/>
                  </a:lnTo>
                  <a:lnTo>
                    <a:pt x="268" y="42"/>
                  </a:lnTo>
                  <a:lnTo>
                    <a:pt x="268" y="42"/>
                  </a:lnTo>
                  <a:lnTo>
                    <a:pt x="264" y="40"/>
                  </a:lnTo>
                  <a:lnTo>
                    <a:pt x="264" y="40"/>
                  </a:lnTo>
                  <a:lnTo>
                    <a:pt x="260" y="40"/>
                  </a:lnTo>
                  <a:lnTo>
                    <a:pt x="260" y="40"/>
                  </a:lnTo>
                  <a:lnTo>
                    <a:pt x="258" y="40"/>
                  </a:lnTo>
                  <a:lnTo>
                    <a:pt x="258" y="40"/>
                  </a:lnTo>
                  <a:lnTo>
                    <a:pt x="252" y="40"/>
                  </a:lnTo>
                  <a:lnTo>
                    <a:pt x="252" y="40"/>
                  </a:lnTo>
                  <a:lnTo>
                    <a:pt x="246" y="40"/>
                  </a:lnTo>
                  <a:lnTo>
                    <a:pt x="242" y="40"/>
                  </a:lnTo>
                  <a:lnTo>
                    <a:pt x="242" y="40"/>
                  </a:lnTo>
                  <a:lnTo>
                    <a:pt x="238" y="40"/>
                  </a:lnTo>
                  <a:lnTo>
                    <a:pt x="234" y="40"/>
                  </a:lnTo>
                  <a:lnTo>
                    <a:pt x="234" y="40"/>
                  </a:lnTo>
                  <a:lnTo>
                    <a:pt x="234" y="40"/>
                  </a:lnTo>
                  <a:lnTo>
                    <a:pt x="234" y="40"/>
                  </a:lnTo>
                  <a:lnTo>
                    <a:pt x="230" y="40"/>
                  </a:lnTo>
                  <a:lnTo>
                    <a:pt x="230" y="40"/>
                  </a:lnTo>
                  <a:lnTo>
                    <a:pt x="228" y="40"/>
                  </a:lnTo>
                  <a:lnTo>
                    <a:pt x="228" y="40"/>
                  </a:lnTo>
                  <a:lnTo>
                    <a:pt x="224" y="40"/>
                  </a:lnTo>
                  <a:lnTo>
                    <a:pt x="224" y="40"/>
                  </a:lnTo>
                  <a:lnTo>
                    <a:pt x="222" y="40"/>
                  </a:lnTo>
                  <a:lnTo>
                    <a:pt x="222" y="40"/>
                  </a:lnTo>
                  <a:lnTo>
                    <a:pt x="218" y="40"/>
                  </a:lnTo>
                  <a:lnTo>
                    <a:pt x="218" y="40"/>
                  </a:lnTo>
                  <a:lnTo>
                    <a:pt x="216" y="40"/>
                  </a:lnTo>
                  <a:lnTo>
                    <a:pt x="216" y="40"/>
                  </a:lnTo>
                  <a:lnTo>
                    <a:pt x="212" y="42"/>
                  </a:lnTo>
                  <a:lnTo>
                    <a:pt x="212" y="42"/>
                  </a:lnTo>
                  <a:lnTo>
                    <a:pt x="208" y="40"/>
                  </a:lnTo>
                  <a:lnTo>
                    <a:pt x="208" y="40"/>
                  </a:lnTo>
                  <a:lnTo>
                    <a:pt x="204" y="42"/>
                  </a:lnTo>
                  <a:lnTo>
                    <a:pt x="204" y="42"/>
                  </a:lnTo>
                  <a:lnTo>
                    <a:pt x="200" y="40"/>
                  </a:lnTo>
                  <a:lnTo>
                    <a:pt x="200" y="40"/>
                  </a:lnTo>
                  <a:lnTo>
                    <a:pt x="190" y="40"/>
                  </a:lnTo>
                  <a:lnTo>
                    <a:pt x="190" y="40"/>
                  </a:lnTo>
                  <a:lnTo>
                    <a:pt x="188" y="40"/>
                  </a:lnTo>
                  <a:lnTo>
                    <a:pt x="188" y="40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2" y="42"/>
                  </a:lnTo>
                  <a:lnTo>
                    <a:pt x="172" y="42"/>
                  </a:lnTo>
                  <a:lnTo>
                    <a:pt x="170" y="42"/>
                  </a:lnTo>
                  <a:lnTo>
                    <a:pt x="170" y="42"/>
                  </a:lnTo>
                  <a:lnTo>
                    <a:pt x="166" y="42"/>
                  </a:lnTo>
                  <a:lnTo>
                    <a:pt x="166" y="42"/>
                  </a:lnTo>
                  <a:lnTo>
                    <a:pt x="162" y="42"/>
                  </a:lnTo>
                  <a:lnTo>
                    <a:pt x="158" y="42"/>
                  </a:lnTo>
                  <a:lnTo>
                    <a:pt x="158" y="42"/>
                  </a:lnTo>
                  <a:lnTo>
                    <a:pt x="158" y="40"/>
                  </a:lnTo>
                  <a:lnTo>
                    <a:pt x="158" y="40"/>
                  </a:lnTo>
                  <a:lnTo>
                    <a:pt x="156" y="40"/>
                  </a:lnTo>
                  <a:lnTo>
                    <a:pt x="156" y="40"/>
                  </a:lnTo>
                  <a:lnTo>
                    <a:pt x="156" y="38"/>
                  </a:lnTo>
                  <a:lnTo>
                    <a:pt x="156" y="38"/>
                  </a:lnTo>
                  <a:lnTo>
                    <a:pt x="148" y="38"/>
                  </a:lnTo>
                  <a:lnTo>
                    <a:pt x="148" y="38"/>
                  </a:lnTo>
                  <a:lnTo>
                    <a:pt x="148" y="38"/>
                  </a:lnTo>
                  <a:lnTo>
                    <a:pt x="148" y="38"/>
                  </a:lnTo>
                  <a:lnTo>
                    <a:pt x="146" y="38"/>
                  </a:lnTo>
                  <a:lnTo>
                    <a:pt x="146" y="38"/>
                  </a:lnTo>
                  <a:lnTo>
                    <a:pt x="142" y="38"/>
                  </a:lnTo>
                  <a:lnTo>
                    <a:pt x="140" y="40"/>
                  </a:lnTo>
                  <a:lnTo>
                    <a:pt x="140" y="40"/>
                  </a:lnTo>
                  <a:lnTo>
                    <a:pt x="138" y="40"/>
                  </a:lnTo>
                  <a:lnTo>
                    <a:pt x="138" y="40"/>
                  </a:lnTo>
                  <a:lnTo>
                    <a:pt x="134" y="40"/>
                  </a:lnTo>
                  <a:lnTo>
                    <a:pt x="134" y="40"/>
                  </a:lnTo>
                  <a:lnTo>
                    <a:pt x="130" y="40"/>
                  </a:lnTo>
                  <a:lnTo>
                    <a:pt x="130" y="40"/>
                  </a:lnTo>
                  <a:lnTo>
                    <a:pt x="126" y="38"/>
                  </a:lnTo>
                  <a:lnTo>
                    <a:pt x="126" y="38"/>
                  </a:lnTo>
                  <a:lnTo>
                    <a:pt x="124" y="38"/>
                  </a:lnTo>
                  <a:lnTo>
                    <a:pt x="124" y="38"/>
                  </a:lnTo>
                  <a:lnTo>
                    <a:pt x="122" y="38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6" y="38"/>
                  </a:lnTo>
                  <a:lnTo>
                    <a:pt x="116" y="38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06" y="40"/>
                  </a:lnTo>
                  <a:lnTo>
                    <a:pt x="106" y="40"/>
                  </a:lnTo>
                  <a:lnTo>
                    <a:pt x="104" y="38"/>
                  </a:lnTo>
                  <a:lnTo>
                    <a:pt x="104" y="38"/>
                  </a:lnTo>
                  <a:lnTo>
                    <a:pt x="104" y="38"/>
                  </a:lnTo>
                  <a:lnTo>
                    <a:pt x="104" y="38"/>
                  </a:lnTo>
                  <a:lnTo>
                    <a:pt x="102" y="38"/>
                  </a:lnTo>
                  <a:lnTo>
                    <a:pt x="102" y="38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86" y="38"/>
                  </a:lnTo>
                  <a:lnTo>
                    <a:pt x="86" y="38"/>
                  </a:lnTo>
                  <a:lnTo>
                    <a:pt x="82" y="36"/>
                  </a:lnTo>
                  <a:lnTo>
                    <a:pt x="82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77" dirty="0"/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gray">
            <a:xfrm>
              <a:off x="377760" y="6195126"/>
              <a:ext cx="8418958" cy="60192"/>
            </a:xfrm>
            <a:custGeom>
              <a:avLst/>
              <a:gdLst>
                <a:gd name="T0" fmla="*/ 3752 w 3916"/>
                <a:gd name="T1" fmla="*/ 12 h 28"/>
                <a:gd name="T2" fmla="*/ 3576 w 3916"/>
                <a:gd name="T3" fmla="*/ 14 h 28"/>
                <a:gd name="T4" fmla="*/ 3450 w 3916"/>
                <a:gd name="T5" fmla="*/ 14 h 28"/>
                <a:gd name="T6" fmla="*/ 3348 w 3916"/>
                <a:gd name="T7" fmla="*/ 12 h 28"/>
                <a:gd name="T8" fmla="*/ 3206 w 3916"/>
                <a:gd name="T9" fmla="*/ 12 h 28"/>
                <a:gd name="T10" fmla="*/ 3108 w 3916"/>
                <a:gd name="T11" fmla="*/ 10 h 28"/>
                <a:gd name="T12" fmla="*/ 2950 w 3916"/>
                <a:gd name="T13" fmla="*/ 12 h 28"/>
                <a:gd name="T14" fmla="*/ 2916 w 3916"/>
                <a:gd name="T15" fmla="*/ 10 h 28"/>
                <a:gd name="T16" fmla="*/ 2826 w 3916"/>
                <a:gd name="T17" fmla="*/ 10 h 28"/>
                <a:gd name="T18" fmla="*/ 2684 w 3916"/>
                <a:gd name="T19" fmla="*/ 8 h 28"/>
                <a:gd name="T20" fmla="*/ 2550 w 3916"/>
                <a:gd name="T21" fmla="*/ 6 h 28"/>
                <a:gd name="T22" fmla="*/ 2400 w 3916"/>
                <a:gd name="T23" fmla="*/ 4 h 28"/>
                <a:gd name="T24" fmla="*/ 2252 w 3916"/>
                <a:gd name="T25" fmla="*/ 6 h 28"/>
                <a:gd name="T26" fmla="*/ 2078 w 3916"/>
                <a:gd name="T27" fmla="*/ 4 h 28"/>
                <a:gd name="T28" fmla="*/ 1694 w 3916"/>
                <a:gd name="T29" fmla="*/ 4 h 28"/>
                <a:gd name="T30" fmla="*/ 1488 w 3916"/>
                <a:gd name="T31" fmla="*/ 4 h 28"/>
                <a:gd name="T32" fmla="*/ 1294 w 3916"/>
                <a:gd name="T33" fmla="*/ 6 h 28"/>
                <a:gd name="T34" fmla="*/ 1254 w 3916"/>
                <a:gd name="T35" fmla="*/ 10 h 28"/>
                <a:gd name="T36" fmla="*/ 1126 w 3916"/>
                <a:gd name="T37" fmla="*/ 10 h 28"/>
                <a:gd name="T38" fmla="*/ 1048 w 3916"/>
                <a:gd name="T39" fmla="*/ 8 h 28"/>
                <a:gd name="T40" fmla="*/ 1044 w 3916"/>
                <a:gd name="T41" fmla="*/ 8 h 28"/>
                <a:gd name="T42" fmla="*/ 900 w 3916"/>
                <a:gd name="T43" fmla="*/ 8 h 28"/>
                <a:gd name="T44" fmla="*/ 720 w 3916"/>
                <a:gd name="T45" fmla="*/ 6 h 28"/>
                <a:gd name="T46" fmla="*/ 480 w 3916"/>
                <a:gd name="T47" fmla="*/ 6 h 28"/>
                <a:gd name="T48" fmla="*/ 338 w 3916"/>
                <a:gd name="T49" fmla="*/ 2 h 28"/>
                <a:gd name="T50" fmla="*/ 194 w 3916"/>
                <a:gd name="T51" fmla="*/ 0 h 28"/>
                <a:gd name="T52" fmla="*/ 56 w 3916"/>
                <a:gd name="T53" fmla="*/ 2 h 28"/>
                <a:gd name="T54" fmla="*/ 0 w 3916"/>
                <a:gd name="T55" fmla="*/ 10 h 28"/>
                <a:gd name="T56" fmla="*/ 64 w 3916"/>
                <a:gd name="T57" fmla="*/ 10 h 28"/>
                <a:gd name="T58" fmla="*/ 192 w 3916"/>
                <a:gd name="T59" fmla="*/ 10 h 28"/>
                <a:gd name="T60" fmla="*/ 294 w 3916"/>
                <a:gd name="T61" fmla="*/ 10 h 28"/>
                <a:gd name="T62" fmla="*/ 390 w 3916"/>
                <a:gd name="T63" fmla="*/ 12 h 28"/>
                <a:gd name="T64" fmla="*/ 610 w 3916"/>
                <a:gd name="T65" fmla="*/ 12 h 28"/>
                <a:gd name="T66" fmla="*/ 778 w 3916"/>
                <a:gd name="T67" fmla="*/ 14 h 28"/>
                <a:gd name="T68" fmla="*/ 884 w 3916"/>
                <a:gd name="T69" fmla="*/ 12 h 28"/>
                <a:gd name="T70" fmla="*/ 962 w 3916"/>
                <a:gd name="T71" fmla="*/ 14 h 28"/>
                <a:gd name="T72" fmla="*/ 1062 w 3916"/>
                <a:gd name="T73" fmla="*/ 16 h 28"/>
                <a:gd name="T74" fmla="*/ 1214 w 3916"/>
                <a:gd name="T75" fmla="*/ 16 h 28"/>
                <a:gd name="T76" fmla="*/ 1338 w 3916"/>
                <a:gd name="T77" fmla="*/ 18 h 28"/>
                <a:gd name="T78" fmla="*/ 1394 w 3916"/>
                <a:gd name="T79" fmla="*/ 18 h 28"/>
                <a:gd name="T80" fmla="*/ 1782 w 3916"/>
                <a:gd name="T81" fmla="*/ 20 h 28"/>
                <a:gd name="T82" fmla="*/ 1952 w 3916"/>
                <a:gd name="T83" fmla="*/ 20 h 28"/>
                <a:gd name="T84" fmla="*/ 2142 w 3916"/>
                <a:gd name="T85" fmla="*/ 22 h 28"/>
                <a:gd name="T86" fmla="*/ 2328 w 3916"/>
                <a:gd name="T87" fmla="*/ 22 h 28"/>
                <a:gd name="T88" fmla="*/ 2476 w 3916"/>
                <a:gd name="T89" fmla="*/ 22 h 28"/>
                <a:gd name="T90" fmla="*/ 2586 w 3916"/>
                <a:gd name="T91" fmla="*/ 22 h 28"/>
                <a:gd name="T92" fmla="*/ 2840 w 3916"/>
                <a:gd name="T93" fmla="*/ 22 h 28"/>
                <a:gd name="T94" fmla="*/ 2984 w 3916"/>
                <a:gd name="T95" fmla="*/ 24 h 28"/>
                <a:gd name="T96" fmla="*/ 3156 w 3916"/>
                <a:gd name="T97" fmla="*/ 24 h 28"/>
                <a:gd name="T98" fmla="*/ 3214 w 3916"/>
                <a:gd name="T99" fmla="*/ 24 h 28"/>
                <a:gd name="T100" fmla="*/ 3334 w 3916"/>
                <a:gd name="T101" fmla="*/ 26 h 28"/>
                <a:gd name="T102" fmla="*/ 3470 w 3916"/>
                <a:gd name="T103" fmla="*/ 26 h 28"/>
                <a:gd name="T104" fmla="*/ 3578 w 3916"/>
                <a:gd name="T105" fmla="*/ 26 h 28"/>
                <a:gd name="T106" fmla="*/ 3658 w 3916"/>
                <a:gd name="T107" fmla="*/ 26 h 28"/>
                <a:gd name="T108" fmla="*/ 3810 w 3916"/>
                <a:gd name="T109" fmla="*/ 28 h 28"/>
                <a:gd name="T110" fmla="*/ 3832 w 3916"/>
                <a:gd name="T111" fmla="*/ 26 h 28"/>
                <a:gd name="T112" fmla="*/ 3878 w 3916"/>
                <a:gd name="T113" fmla="*/ 24 h 28"/>
                <a:gd name="T114" fmla="*/ 3916 w 3916"/>
                <a:gd name="T115" fmla="*/ 18 h 28"/>
                <a:gd name="T116" fmla="*/ 3844 w 3916"/>
                <a:gd name="T117" fmla="*/ 14 h 28"/>
                <a:gd name="T118" fmla="*/ 746 w 3916"/>
                <a:gd name="T119" fmla="*/ 8 h 28"/>
                <a:gd name="T120" fmla="*/ 2876 w 3916"/>
                <a:gd name="T121" fmla="*/ 18 h 28"/>
                <a:gd name="T122" fmla="*/ 3162 w 3916"/>
                <a:gd name="T123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916" h="28">
                  <a:moveTo>
                    <a:pt x="3820" y="12"/>
                  </a:moveTo>
                  <a:lnTo>
                    <a:pt x="3820" y="12"/>
                  </a:lnTo>
                  <a:lnTo>
                    <a:pt x="3816" y="14"/>
                  </a:lnTo>
                  <a:lnTo>
                    <a:pt x="3816" y="14"/>
                  </a:lnTo>
                  <a:lnTo>
                    <a:pt x="3796" y="14"/>
                  </a:lnTo>
                  <a:lnTo>
                    <a:pt x="3796" y="14"/>
                  </a:lnTo>
                  <a:lnTo>
                    <a:pt x="3752" y="12"/>
                  </a:lnTo>
                  <a:lnTo>
                    <a:pt x="3752" y="12"/>
                  </a:lnTo>
                  <a:lnTo>
                    <a:pt x="3738" y="14"/>
                  </a:lnTo>
                  <a:lnTo>
                    <a:pt x="3738" y="14"/>
                  </a:lnTo>
                  <a:lnTo>
                    <a:pt x="3684" y="14"/>
                  </a:lnTo>
                  <a:lnTo>
                    <a:pt x="3634" y="14"/>
                  </a:lnTo>
                  <a:lnTo>
                    <a:pt x="3634" y="14"/>
                  </a:lnTo>
                  <a:lnTo>
                    <a:pt x="3604" y="14"/>
                  </a:lnTo>
                  <a:lnTo>
                    <a:pt x="3576" y="14"/>
                  </a:lnTo>
                  <a:lnTo>
                    <a:pt x="3576" y="14"/>
                  </a:lnTo>
                  <a:lnTo>
                    <a:pt x="3562" y="14"/>
                  </a:lnTo>
                  <a:lnTo>
                    <a:pt x="3548" y="12"/>
                  </a:lnTo>
                  <a:lnTo>
                    <a:pt x="3548" y="12"/>
                  </a:lnTo>
                  <a:lnTo>
                    <a:pt x="3530" y="12"/>
                  </a:lnTo>
                  <a:lnTo>
                    <a:pt x="3530" y="12"/>
                  </a:lnTo>
                  <a:lnTo>
                    <a:pt x="3488" y="12"/>
                  </a:lnTo>
                  <a:lnTo>
                    <a:pt x="3468" y="12"/>
                  </a:lnTo>
                  <a:lnTo>
                    <a:pt x="3450" y="14"/>
                  </a:lnTo>
                  <a:lnTo>
                    <a:pt x="3450" y="14"/>
                  </a:lnTo>
                  <a:lnTo>
                    <a:pt x="3440" y="12"/>
                  </a:lnTo>
                  <a:lnTo>
                    <a:pt x="3430" y="12"/>
                  </a:lnTo>
                  <a:lnTo>
                    <a:pt x="3410" y="12"/>
                  </a:lnTo>
                  <a:lnTo>
                    <a:pt x="3410" y="12"/>
                  </a:lnTo>
                  <a:lnTo>
                    <a:pt x="3380" y="12"/>
                  </a:lnTo>
                  <a:lnTo>
                    <a:pt x="3348" y="12"/>
                  </a:lnTo>
                  <a:lnTo>
                    <a:pt x="3348" y="12"/>
                  </a:lnTo>
                  <a:lnTo>
                    <a:pt x="3332" y="12"/>
                  </a:lnTo>
                  <a:lnTo>
                    <a:pt x="3316" y="14"/>
                  </a:lnTo>
                  <a:lnTo>
                    <a:pt x="3316" y="14"/>
                  </a:lnTo>
                  <a:lnTo>
                    <a:pt x="3266" y="12"/>
                  </a:lnTo>
                  <a:lnTo>
                    <a:pt x="3216" y="12"/>
                  </a:lnTo>
                  <a:lnTo>
                    <a:pt x="3216" y="12"/>
                  </a:lnTo>
                  <a:lnTo>
                    <a:pt x="3206" y="12"/>
                  </a:lnTo>
                  <a:lnTo>
                    <a:pt x="3206" y="12"/>
                  </a:lnTo>
                  <a:lnTo>
                    <a:pt x="3198" y="14"/>
                  </a:lnTo>
                  <a:lnTo>
                    <a:pt x="3198" y="14"/>
                  </a:lnTo>
                  <a:lnTo>
                    <a:pt x="3170" y="12"/>
                  </a:lnTo>
                  <a:lnTo>
                    <a:pt x="3156" y="12"/>
                  </a:lnTo>
                  <a:lnTo>
                    <a:pt x="3142" y="14"/>
                  </a:lnTo>
                  <a:lnTo>
                    <a:pt x="3142" y="14"/>
                  </a:lnTo>
                  <a:lnTo>
                    <a:pt x="3124" y="12"/>
                  </a:lnTo>
                  <a:lnTo>
                    <a:pt x="3108" y="10"/>
                  </a:lnTo>
                  <a:lnTo>
                    <a:pt x="3074" y="12"/>
                  </a:lnTo>
                  <a:lnTo>
                    <a:pt x="3074" y="12"/>
                  </a:lnTo>
                  <a:lnTo>
                    <a:pt x="3064" y="10"/>
                  </a:lnTo>
                  <a:lnTo>
                    <a:pt x="3064" y="10"/>
                  </a:lnTo>
                  <a:lnTo>
                    <a:pt x="3012" y="10"/>
                  </a:lnTo>
                  <a:lnTo>
                    <a:pt x="2960" y="10"/>
                  </a:lnTo>
                  <a:lnTo>
                    <a:pt x="2960" y="10"/>
                  </a:lnTo>
                  <a:lnTo>
                    <a:pt x="2950" y="12"/>
                  </a:lnTo>
                  <a:lnTo>
                    <a:pt x="2950" y="12"/>
                  </a:lnTo>
                  <a:lnTo>
                    <a:pt x="2944" y="10"/>
                  </a:lnTo>
                  <a:lnTo>
                    <a:pt x="2944" y="10"/>
                  </a:lnTo>
                  <a:lnTo>
                    <a:pt x="2936" y="12"/>
                  </a:lnTo>
                  <a:lnTo>
                    <a:pt x="2936" y="12"/>
                  </a:lnTo>
                  <a:lnTo>
                    <a:pt x="2932" y="10"/>
                  </a:lnTo>
                  <a:lnTo>
                    <a:pt x="2932" y="10"/>
                  </a:lnTo>
                  <a:lnTo>
                    <a:pt x="2916" y="10"/>
                  </a:lnTo>
                  <a:lnTo>
                    <a:pt x="2902" y="10"/>
                  </a:lnTo>
                  <a:lnTo>
                    <a:pt x="2902" y="10"/>
                  </a:lnTo>
                  <a:lnTo>
                    <a:pt x="2882" y="10"/>
                  </a:lnTo>
                  <a:lnTo>
                    <a:pt x="2858" y="10"/>
                  </a:lnTo>
                  <a:lnTo>
                    <a:pt x="2858" y="10"/>
                  </a:lnTo>
                  <a:lnTo>
                    <a:pt x="2844" y="10"/>
                  </a:lnTo>
                  <a:lnTo>
                    <a:pt x="2834" y="10"/>
                  </a:lnTo>
                  <a:lnTo>
                    <a:pt x="2826" y="10"/>
                  </a:lnTo>
                  <a:lnTo>
                    <a:pt x="2826" y="10"/>
                  </a:lnTo>
                  <a:lnTo>
                    <a:pt x="2788" y="8"/>
                  </a:lnTo>
                  <a:lnTo>
                    <a:pt x="2750" y="8"/>
                  </a:lnTo>
                  <a:lnTo>
                    <a:pt x="2750" y="8"/>
                  </a:lnTo>
                  <a:lnTo>
                    <a:pt x="2728" y="8"/>
                  </a:lnTo>
                  <a:lnTo>
                    <a:pt x="2706" y="8"/>
                  </a:lnTo>
                  <a:lnTo>
                    <a:pt x="2706" y="8"/>
                  </a:lnTo>
                  <a:lnTo>
                    <a:pt x="2684" y="8"/>
                  </a:lnTo>
                  <a:lnTo>
                    <a:pt x="2662" y="8"/>
                  </a:lnTo>
                  <a:lnTo>
                    <a:pt x="2662" y="8"/>
                  </a:lnTo>
                  <a:lnTo>
                    <a:pt x="2596" y="6"/>
                  </a:lnTo>
                  <a:lnTo>
                    <a:pt x="2596" y="6"/>
                  </a:lnTo>
                  <a:lnTo>
                    <a:pt x="2578" y="8"/>
                  </a:lnTo>
                  <a:lnTo>
                    <a:pt x="2578" y="8"/>
                  </a:lnTo>
                  <a:lnTo>
                    <a:pt x="2560" y="6"/>
                  </a:lnTo>
                  <a:lnTo>
                    <a:pt x="2550" y="6"/>
                  </a:lnTo>
                  <a:lnTo>
                    <a:pt x="2542" y="8"/>
                  </a:lnTo>
                  <a:lnTo>
                    <a:pt x="2542" y="8"/>
                  </a:lnTo>
                  <a:lnTo>
                    <a:pt x="2538" y="6"/>
                  </a:lnTo>
                  <a:lnTo>
                    <a:pt x="2534" y="6"/>
                  </a:lnTo>
                  <a:lnTo>
                    <a:pt x="2526" y="6"/>
                  </a:lnTo>
                  <a:lnTo>
                    <a:pt x="2526" y="6"/>
                  </a:lnTo>
                  <a:lnTo>
                    <a:pt x="2442" y="6"/>
                  </a:lnTo>
                  <a:lnTo>
                    <a:pt x="2400" y="4"/>
                  </a:lnTo>
                  <a:lnTo>
                    <a:pt x="2358" y="4"/>
                  </a:lnTo>
                  <a:lnTo>
                    <a:pt x="2358" y="4"/>
                  </a:lnTo>
                  <a:lnTo>
                    <a:pt x="2344" y="6"/>
                  </a:lnTo>
                  <a:lnTo>
                    <a:pt x="2328" y="6"/>
                  </a:lnTo>
                  <a:lnTo>
                    <a:pt x="2328" y="6"/>
                  </a:lnTo>
                  <a:lnTo>
                    <a:pt x="2280" y="6"/>
                  </a:lnTo>
                  <a:lnTo>
                    <a:pt x="2280" y="6"/>
                  </a:lnTo>
                  <a:lnTo>
                    <a:pt x="2252" y="6"/>
                  </a:lnTo>
                  <a:lnTo>
                    <a:pt x="2224" y="6"/>
                  </a:lnTo>
                  <a:lnTo>
                    <a:pt x="2224" y="6"/>
                  </a:lnTo>
                  <a:lnTo>
                    <a:pt x="2174" y="6"/>
                  </a:lnTo>
                  <a:lnTo>
                    <a:pt x="2122" y="4"/>
                  </a:lnTo>
                  <a:lnTo>
                    <a:pt x="2122" y="4"/>
                  </a:lnTo>
                  <a:lnTo>
                    <a:pt x="2100" y="6"/>
                  </a:lnTo>
                  <a:lnTo>
                    <a:pt x="2088" y="6"/>
                  </a:lnTo>
                  <a:lnTo>
                    <a:pt x="2078" y="4"/>
                  </a:lnTo>
                  <a:lnTo>
                    <a:pt x="2078" y="4"/>
                  </a:lnTo>
                  <a:lnTo>
                    <a:pt x="2042" y="4"/>
                  </a:lnTo>
                  <a:lnTo>
                    <a:pt x="2004" y="4"/>
                  </a:lnTo>
                  <a:lnTo>
                    <a:pt x="2004" y="4"/>
                  </a:lnTo>
                  <a:lnTo>
                    <a:pt x="1888" y="4"/>
                  </a:lnTo>
                  <a:lnTo>
                    <a:pt x="1888" y="4"/>
                  </a:lnTo>
                  <a:lnTo>
                    <a:pt x="1792" y="4"/>
                  </a:lnTo>
                  <a:lnTo>
                    <a:pt x="1694" y="4"/>
                  </a:lnTo>
                  <a:lnTo>
                    <a:pt x="1694" y="4"/>
                  </a:lnTo>
                  <a:lnTo>
                    <a:pt x="1634" y="4"/>
                  </a:lnTo>
                  <a:lnTo>
                    <a:pt x="1604" y="4"/>
                  </a:lnTo>
                  <a:lnTo>
                    <a:pt x="1574" y="6"/>
                  </a:lnTo>
                  <a:lnTo>
                    <a:pt x="1574" y="6"/>
                  </a:lnTo>
                  <a:lnTo>
                    <a:pt x="1552" y="4"/>
                  </a:lnTo>
                  <a:lnTo>
                    <a:pt x="1532" y="4"/>
                  </a:lnTo>
                  <a:lnTo>
                    <a:pt x="1488" y="4"/>
                  </a:lnTo>
                  <a:lnTo>
                    <a:pt x="1488" y="4"/>
                  </a:lnTo>
                  <a:lnTo>
                    <a:pt x="1462" y="6"/>
                  </a:lnTo>
                  <a:lnTo>
                    <a:pt x="1462" y="6"/>
                  </a:lnTo>
                  <a:lnTo>
                    <a:pt x="1416" y="6"/>
                  </a:lnTo>
                  <a:lnTo>
                    <a:pt x="1370" y="6"/>
                  </a:lnTo>
                  <a:lnTo>
                    <a:pt x="1370" y="6"/>
                  </a:lnTo>
                  <a:lnTo>
                    <a:pt x="1332" y="6"/>
                  </a:lnTo>
                  <a:lnTo>
                    <a:pt x="1294" y="6"/>
                  </a:lnTo>
                  <a:lnTo>
                    <a:pt x="1294" y="6"/>
                  </a:lnTo>
                  <a:lnTo>
                    <a:pt x="1280" y="6"/>
                  </a:lnTo>
                  <a:lnTo>
                    <a:pt x="1266" y="10"/>
                  </a:lnTo>
                  <a:lnTo>
                    <a:pt x="1266" y="10"/>
                  </a:lnTo>
                  <a:lnTo>
                    <a:pt x="1264" y="8"/>
                  </a:lnTo>
                  <a:lnTo>
                    <a:pt x="1260" y="8"/>
                  </a:lnTo>
                  <a:lnTo>
                    <a:pt x="1256" y="8"/>
                  </a:lnTo>
                  <a:lnTo>
                    <a:pt x="1254" y="10"/>
                  </a:lnTo>
                  <a:lnTo>
                    <a:pt x="1254" y="10"/>
                  </a:lnTo>
                  <a:lnTo>
                    <a:pt x="1232" y="8"/>
                  </a:lnTo>
                  <a:lnTo>
                    <a:pt x="1212" y="8"/>
                  </a:lnTo>
                  <a:lnTo>
                    <a:pt x="1192" y="8"/>
                  </a:lnTo>
                  <a:lnTo>
                    <a:pt x="1170" y="8"/>
                  </a:lnTo>
                  <a:lnTo>
                    <a:pt x="1170" y="8"/>
                  </a:lnTo>
                  <a:lnTo>
                    <a:pt x="1148" y="8"/>
                  </a:lnTo>
                  <a:lnTo>
                    <a:pt x="1126" y="10"/>
                  </a:lnTo>
                  <a:lnTo>
                    <a:pt x="1126" y="10"/>
                  </a:lnTo>
                  <a:lnTo>
                    <a:pt x="1114" y="8"/>
                  </a:lnTo>
                  <a:lnTo>
                    <a:pt x="1102" y="8"/>
                  </a:lnTo>
                  <a:lnTo>
                    <a:pt x="1076" y="10"/>
                  </a:lnTo>
                  <a:lnTo>
                    <a:pt x="1076" y="10"/>
                  </a:lnTo>
                  <a:lnTo>
                    <a:pt x="1064" y="8"/>
                  </a:lnTo>
                  <a:lnTo>
                    <a:pt x="1056" y="6"/>
                  </a:lnTo>
                  <a:lnTo>
                    <a:pt x="1048" y="8"/>
                  </a:lnTo>
                  <a:lnTo>
                    <a:pt x="1048" y="8"/>
                  </a:lnTo>
                  <a:lnTo>
                    <a:pt x="1046" y="8"/>
                  </a:lnTo>
                  <a:lnTo>
                    <a:pt x="1046" y="12"/>
                  </a:lnTo>
                  <a:lnTo>
                    <a:pt x="1046" y="12"/>
                  </a:lnTo>
                  <a:lnTo>
                    <a:pt x="1046" y="10"/>
                  </a:lnTo>
                  <a:lnTo>
                    <a:pt x="1046" y="10"/>
                  </a:lnTo>
                  <a:lnTo>
                    <a:pt x="1046" y="8"/>
                  </a:lnTo>
                  <a:lnTo>
                    <a:pt x="1044" y="8"/>
                  </a:lnTo>
                  <a:lnTo>
                    <a:pt x="1044" y="8"/>
                  </a:lnTo>
                  <a:lnTo>
                    <a:pt x="1000" y="8"/>
                  </a:lnTo>
                  <a:lnTo>
                    <a:pt x="958" y="8"/>
                  </a:lnTo>
                  <a:lnTo>
                    <a:pt x="958" y="8"/>
                  </a:lnTo>
                  <a:lnTo>
                    <a:pt x="928" y="6"/>
                  </a:lnTo>
                  <a:lnTo>
                    <a:pt x="914" y="6"/>
                  </a:lnTo>
                  <a:lnTo>
                    <a:pt x="900" y="8"/>
                  </a:lnTo>
                  <a:lnTo>
                    <a:pt x="900" y="8"/>
                  </a:lnTo>
                  <a:lnTo>
                    <a:pt x="900" y="8"/>
                  </a:lnTo>
                  <a:lnTo>
                    <a:pt x="900" y="6"/>
                  </a:lnTo>
                  <a:lnTo>
                    <a:pt x="898" y="6"/>
                  </a:lnTo>
                  <a:lnTo>
                    <a:pt x="898" y="6"/>
                  </a:lnTo>
                  <a:lnTo>
                    <a:pt x="898" y="6"/>
                  </a:lnTo>
                  <a:lnTo>
                    <a:pt x="838" y="4"/>
                  </a:lnTo>
                  <a:lnTo>
                    <a:pt x="780" y="4"/>
                  </a:lnTo>
                  <a:lnTo>
                    <a:pt x="720" y="6"/>
                  </a:lnTo>
                  <a:lnTo>
                    <a:pt x="662" y="6"/>
                  </a:lnTo>
                  <a:lnTo>
                    <a:pt x="662" y="6"/>
                  </a:lnTo>
                  <a:lnTo>
                    <a:pt x="630" y="6"/>
                  </a:lnTo>
                  <a:lnTo>
                    <a:pt x="630" y="6"/>
                  </a:lnTo>
                  <a:lnTo>
                    <a:pt x="508" y="4"/>
                  </a:lnTo>
                  <a:lnTo>
                    <a:pt x="508" y="4"/>
                  </a:lnTo>
                  <a:lnTo>
                    <a:pt x="480" y="6"/>
                  </a:lnTo>
                  <a:lnTo>
                    <a:pt x="480" y="6"/>
                  </a:lnTo>
                  <a:lnTo>
                    <a:pt x="444" y="4"/>
                  </a:lnTo>
                  <a:lnTo>
                    <a:pt x="408" y="4"/>
                  </a:lnTo>
                  <a:lnTo>
                    <a:pt x="408" y="4"/>
                  </a:lnTo>
                  <a:lnTo>
                    <a:pt x="372" y="4"/>
                  </a:lnTo>
                  <a:lnTo>
                    <a:pt x="372" y="4"/>
                  </a:lnTo>
                  <a:lnTo>
                    <a:pt x="356" y="2"/>
                  </a:lnTo>
                  <a:lnTo>
                    <a:pt x="338" y="2"/>
                  </a:lnTo>
                  <a:lnTo>
                    <a:pt x="338" y="2"/>
                  </a:lnTo>
                  <a:lnTo>
                    <a:pt x="326" y="4"/>
                  </a:lnTo>
                  <a:lnTo>
                    <a:pt x="326" y="4"/>
                  </a:lnTo>
                  <a:lnTo>
                    <a:pt x="300" y="2"/>
                  </a:lnTo>
                  <a:lnTo>
                    <a:pt x="300" y="2"/>
                  </a:lnTo>
                  <a:lnTo>
                    <a:pt x="268" y="2"/>
                  </a:lnTo>
                  <a:lnTo>
                    <a:pt x="236" y="2"/>
                  </a:lnTo>
                  <a:lnTo>
                    <a:pt x="236" y="2"/>
                  </a:lnTo>
                  <a:lnTo>
                    <a:pt x="194" y="0"/>
                  </a:lnTo>
                  <a:lnTo>
                    <a:pt x="194" y="0"/>
                  </a:lnTo>
                  <a:lnTo>
                    <a:pt x="180" y="2"/>
                  </a:lnTo>
                  <a:lnTo>
                    <a:pt x="180" y="2"/>
                  </a:lnTo>
                  <a:lnTo>
                    <a:pt x="158" y="2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20" y="2"/>
                  </a:lnTo>
                  <a:lnTo>
                    <a:pt x="1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6" y="10"/>
                  </a:lnTo>
                  <a:lnTo>
                    <a:pt x="12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98" y="10"/>
                  </a:lnTo>
                  <a:lnTo>
                    <a:pt x="136" y="10"/>
                  </a:lnTo>
                  <a:lnTo>
                    <a:pt x="136" y="10"/>
                  </a:lnTo>
                  <a:lnTo>
                    <a:pt x="166" y="12"/>
                  </a:lnTo>
                  <a:lnTo>
                    <a:pt x="166" y="12"/>
                  </a:lnTo>
                  <a:lnTo>
                    <a:pt x="180" y="10"/>
                  </a:lnTo>
                  <a:lnTo>
                    <a:pt x="192" y="10"/>
                  </a:lnTo>
                  <a:lnTo>
                    <a:pt x="192" y="10"/>
                  </a:lnTo>
                  <a:lnTo>
                    <a:pt x="200" y="12"/>
                  </a:lnTo>
                  <a:lnTo>
                    <a:pt x="200" y="12"/>
                  </a:lnTo>
                  <a:lnTo>
                    <a:pt x="222" y="12"/>
                  </a:lnTo>
                  <a:lnTo>
                    <a:pt x="244" y="10"/>
                  </a:lnTo>
                  <a:lnTo>
                    <a:pt x="244" y="10"/>
                  </a:lnTo>
                  <a:lnTo>
                    <a:pt x="280" y="10"/>
                  </a:lnTo>
                  <a:lnTo>
                    <a:pt x="280" y="10"/>
                  </a:lnTo>
                  <a:lnTo>
                    <a:pt x="294" y="10"/>
                  </a:lnTo>
                  <a:lnTo>
                    <a:pt x="310" y="12"/>
                  </a:lnTo>
                  <a:lnTo>
                    <a:pt x="310" y="12"/>
                  </a:lnTo>
                  <a:lnTo>
                    <a:pt x="326" y="10"/>
                  </a:lnTo>
                  <a:lnTo>
                    <a:pt x="342" y="10"/>
                  </a:lnTo>
                  <a:lnTo>
                    <a:pt x="342" y="10"/>
                  </a:lnTo>
                  <a:lnTo>
                    <a:pt x="352" y="12"/>
                  </a:lnTo>
                  <a:lnTo>
                    <a:pt x="352" y="12"/>
                  </a:lnTo>
                  <a:lnTo>
                    <a:pt x="390" y="12"/>
                  </a:lnTo>
                  <a:lnTo>
                    <a:pt x="430" y="12"/>
                  </a:lnTo>
                  <a:lnTo>
                    <a:pt x="430" y="12"/>
                  </a:lnTo>
                  <a:lnTo>
                    <a:pt x="452" y="12"/>
                  </a:lnTo>
                  <a:lnTo>
                    <a:pt x="472" y="12"/>
                  </a:lnTo>
                  <a:lnTo>
                    <a:pt x="494" y="12"/>
                  </a:lnTo>
                  <a:lnTo>
                    <a:pt x="516" y="14"/>
                  </a:lnTo>
                  <a:lnTo>
                    <a:pt x="516" y="14"/>
                  </a:lnTo>
                  <a:lnTo>
                    <a:pt x="610" y="12"/>
                  </a:lnTo>
                  <a:lnTo>
                    <a:pt x="706" y="14"/>
                  </a:lnTo>
                  <a:lnTo>
                    <a:pt x="706" y="14"/>
                  </a:lnTo>
                  <a:lnTo>
                    <a:pt x="712" y="12"/>
                  </a:lnTo>
                  <a:lnTo>
                    <a:pt x="720" y="12"/>
                  </a:lnTo>
                  <a:lnTo>
                    <a:pt x="720" y="12"/>
                  </a:lnTo>
                  <a:lnTo>
                    <a:pt x="750" y="12"/>
                  </a:lnTo>
                  <a:lnTo>
                    <a:pt x="778" y="14"/>
                  </a:lnTo>
                  <a:lnTo>
                    <a:pt x="778" y="14"/>
                  </a:lnTo>
                  <a:lnTo>
                    <a:pt x="794" y="12"/>
                  </a:lnTo>
                  <a:lnTo>
                    <a:pt x="810" y="12"/>
                  </a:lnTo>
                  <a:lnTo>
                    <a:pt x="826" y="12"/>
                  </a:lnTo>
                  <a:lnTo>
                    <a:pt x="840" y="10"/>
                  </a:lnTo>
                  <a:lnTo>
                    <a:pt x="840" y="10"/>
                  </a:lnTo>
                  <a:lnTo>
                    <a:pt x="850" y="12"/>
                  </a:lnTo>
                  <a:lnTo>
                    <a:pt x="862" y="12"/>
                  </a:lnTo>
                  <a:lnTo>
                    <a:pt x="884" y="12"/>
                  </a:lnTo>
                  <a:lnTo>
                    <a:pt x="884" y="12"/>
                  </a:lnTo>
                  <a:lnTo>
                    <a:pt x="906" y="14"/>
                  </a:lnTo>
                  <a:lnTo>
                    <a:pt x="928" y="14"/>
                  </a:lnTo>
                  <a:lnTo>
                    <a:pt x="928" y="14"/>
                  </a:lnTo>
                  <a:lnTo>
                    <a:pt x="934" y="14"/>
                  </a:lnTo>
                  <a:lnTo>
                    <a:pt x="940" y="12"/>
                  </a:lnTo>
                  <a:lnTo>
                    <a:pt x="940" y="12"/>
                  </a:lnTo>
                  <a:lnTo>
                    <a:pt x="962" y="14"/>
                  </a:lnTo>
                  <a:lnTo>
                    <a:pt x="982" y="14"/>
                  </a:lnTo>
                  <a:lnTo>
                    <a:pt x="1020" y="14"/>
                  </a:lnTo>
                  <a:lnTo>
                    <a:pt x="1020" y="14"/>
                  </a:lnTo>
                  <a:lnTo>
                    <a:pt x="1032" y="14"/>
                  </a:lnTo>
                  <a:lnTo>
                    <a:pt x="1042" y="14"/>
                  </a:lnTo>
                  <a:lnTo>
                    <a:pt x="1052" y="14"/>
                  </a:lnTo>
                  <a:lnTo>
                    <a:pt x="1062" y="16"/>
                  </a:lnTo>
                  <a:lnTo>
                    <a:pt x="1062" y="16"/>
                  </a:lnTo>
                  <a:lnTo>
                    <a:pt x="1096" y="16"/>
                  </a:lnTo>
                  <a:lnTo>
                    <a:pt x="1126" y="16"/>
                  </a:lnTo>
                  <a:lnTo>
                    <a:pt x="1160" y="16"/>
                  </a:lnTo>
                  <a:lnTo>
                    <a:pt x="1194" y="14"/>
                  </a:lnTo>
                  <a:lnTo>
                    <a:pt x="1194" y="14"/>
                  </a:lnTo>
                  <a:lnTo>
                    <a:pt x="1198" y="16"/>
                  </a:lnTo>
                  <a:lnTo>
                    <a:pt x="1202" y="16"/>
                  </a:lnTo>
                  <a:lnTo>
                    <a:pt x="1214" y="16"/>
                  </a:lnTo>
                  <a:lnTo>
                    <a:pt x="1214" y="16"/>
                  </a:lnTo>
                  <a:lnTo>
                    <a:pt x="1252" y="16"/>
                  </a:lnTo>
                  <a:lnTo>
                    <a:pt x="1270" y="16"/>
                  </a:lnTo>
                  <a:lnTo>
                    <a:pt x="1290" y="16"/>
                  </a:lnTo>
                  <a:lnTo>
                    <a:pt x="1290" y="16"/>
                  </a:lnTo>
                  <a:lnTo>
                    <a:pt x="1302" y="14"/>
                  </a:lnTo>
                  <a:lnTo>
                    <a:pt x="1314" y="16"/>
                  </a:lnTo>
                  <a:lnTo>
                    <a:pt x="1338" y="18"/>
                  </a:lnTo>
                  <a:lnTo>
                    <a:pt x="1338" y="18"/>
                  </a:lnTo>
                  <a:lnTo>
                    <a:pt x="1346" y="16"/>
                  </a:lnTo>
                  <a:lnTo>
                    <a:pt x="1346" y="16"/>
                  </a:lnTo>
                  <a:lnTo>
                    <a:pt x="1364" y="16"/>
                  </a:lnTo>
                  <a:lnTo>
                    <a:pt x="1364" y="16"/>
                  </a:lnTo>
                  <a:lnTo>
                    <a:pt x="1380" y="18"/>
                  </a:lnTo>
                  <a:lnTo>
                    <a:pt x="1394" y="18"/>
                  </a:lnTo>
                  <a:lnTo>
                    <a:pt x="1394" y="18"/>
                  </a:lnTo>
                  <a:lnTo>
                    <a:pt x="1404" y="18"/>
                  </a:lnTo>
                  <a:lnTo>
                    <a:pt x="1404" y="18"/>
                  </a:lnTo>
                  <a:lnTo>
                    <a:pt x="1504" y="18"/>
                  </a:lnTo>
                  <a:lnTo>
                    <a:pt x="1504" y="18"/>
                  </a:lnTo>
                  <a:lnTo>
                    <a:pt x="1740" y="18"/>
                  </a:lnTo>
                  <a:lnTo>
                    <a:pt x="1740" y="18"/>
                  </a:lnTo>
                  <a:lnTo>
                    <a:pt x="1760" y="20"/>
                  </a:lnTo>
                  <a:lnTo>
                    <a:pt x="1782" y="20"/>
                  </a:lnTo>
                  <a:lnTo>
                    <a:pt x="1804" y="20"/>
                  </a:lnTo>
                  <a:lnTo>
                    <a:pt x="1826" y="22"/>
                  </a:lnTo>
                  <a:lnTo>
                    <a:pt x="1826" y="22"/>
                  </a:lnTo>
                  <a:lnTo>
                    <a:pt x="1832" y="20"/>
                  </a:lnTo>
                  <a:lnTo>
                    <a:pt x="1838" y="20"/>
                  </a:lnTo>
                  <a:lnTo>
                    <a:pt x="1838" y="20"/>
                  </a:lnTo>
                  <a:lnTo>
                    <a:pt x="1894" y="20"/>
                  </a:lnTo>
                  <a:lnTo>
                    <a:pt x="1952" y="20"/>
                  </a:lnTo>
                  <a:lnTo>
                    <a:pt x="1952" y="20"/>
                  </a:lnTo>
                  <a:lnTo>
                    <a:pt x="2008" y="20"/>
                  </a:lnTo>
                  <a:lnTo>
                    <a:pt x="2064" y="20"/>
                  </a:lnTo>
                  <a:lnTo>
                    <a:pt x="2064" y="20"/>
                  </a:lnTo>
                  <a:lnTo>
                    <a:pt x="2082" y="20"/>
                  </a:lnTo>
                  <a:lnTo>
                    <a:pt x="2102" y="20"/>
                  </a:lnTo>
                  <a:lnTo>
                    <a:pt x="2122" y="20"/>
                  </a:lnTo>
                  <a:lnTo>
                    <a:pt x="2142" y="22"/>
                  </a:lnTo>
                  <a:lnTo>
                    <a:pt x="2142" y="22"/>
                  </a:lnTo>
                  <a:lnTo>
                    <a:pt x="2220" y="20"/>
                  </a:lnTo>
                  <a:lnTo>
                    <a:pt x="2300" y="22"/>
                  </a:lnTo>
                  <a:lnTo>
                    <a:pt x="2300" y="22"/>
                  </a:lnTo>
                  <a:lnTo>
                    <a:pt x="2320" y="20"/>
                  </a:lnTo>
                  <a:lnTo>
                    <a:pt x="2320" y="20"/>
                  </a:lnTo>
                  <a:lnTo>
                    <a:pt x="2328" y="22"/>
                  </a:lnTo>
                  <a:lnTo>
                    <a:pt x="2328" y="22"/>
                  </a:lnTo>
                  <a:lnTo>
                    <a:pt x="2334" y="20"/>
                  </a:lnTo>
                  <a:lnTo>
                    <a:pt x="2340" y="20"/>
                  </a:lnTo>
                  <a:lnTo>
                    <a:pt x="2340" y="20"/>
                  </a:lnTo>
                  <a:lnTo>
                    <a:pt x="2404" y="20"/>
                  </a:lnTo>
                  <a:lnTo>
                    <a:pt x="2438" y="20"/>
                  </a:lnTo>
                  <a:lnTo>
                    <a:pt x="2468" y="24"/>
                  </a:lnTo>
                  <a:lnTo>
                    <a:pt x="2468" y="24"/>
                  </a:lnTo>
                  <a:lnTo>
                    <a:pt x="2476" y="22"/>
                  </a:lnTo>
                  <a:lnTo>
                    <a:pt x="2486" y="22"/>
                  </a:lnTo>
                  <a:lnTo>
                    <a:pt x="2502" y="22"/>
                  </a:lnTo>
                  <a:lnTo>
                    <a:pt x="2502" y="22"/>
                  </a:lnTo>
                  <a:lnTo>
                    <a:pt x="2534" y="22"/>
                  </a:lnTo>
                  <a:lnTo>
                    <a:pt x="2568" y="20"/>
                  </a:lnTo>
                  <a:lnTo>
                    <a:pt x="2568" y="20"/>
                  </a:lnTo>
                  <a:lnTo>
                    <a:pt x="2586" y="22"/>
                  </a:lnTo>
                  <a:lnTo>
                    <a:pt x="2586" y="22"/>
                  </a:lnTo>
                  <a:lnTo>
                    <a:pt x="2624" y="22"/>
                  </a:lnTo>
                  <a:lnTo>
                    <a:pt x="2624" y="22"/>
                  </a:lnTo>
                  <a:lnTo>
                    <a:pt x="2642" y="20"/>
                  </a:lnTo>
                  <a:lnTo>
                    <a:pt x="2642" y="20"/>
                  </a:lnTo>
                  <a:lnTo>
                    <a:pt x="2706" y="22"/>
                  </a:lnTo>
                  <a:lnTo>
                    <a:pt x="2764" y="22"/>
                  </a:lnTo>
                  <a:lnTo>
                    <a:pt x="2764" y="22"/>
                  </a:lnTo>
                  <a:lnTo>
                    <a:pt x="2840" y="22"/>
                  </a:lnTo>
                  <a:lnTo>
                    <a:pt x="2840" y="22"/>
                  </a:lnTo>
                  <a:lnTo>
                    <a:pt x="2888" y="24"/>
                  </a:lnTo>
                  <a:lnTo>
                    <a:pt x="2910" y="24"/>
                  </a:lnTo>
                  <a:lnTo>
                    <a:pt x="2932" y="22"/>
                  </a:lnTo>
                  <a:lnTo>
                    <a:pt x="2932" y="22"/>
                  </a:lnTo>
                  <a:lnTo>
                    <a:pt x="2946" y="24"/>
                  </a:lnTo>
                  <a:lnTo>
                    <a:pt x="2960" y="24"/>
                  </a:lnTo>
                  <a:lnTo>
                    <a:pt x="2984" y="24"/>
                  </a:lnTo>
                  <a:lnTo>
                    <a:pt x="2984" y="24"/>
                  </a:lnTo>
                  <a:lnTo>
                    <a:pt x="3024" y="24"/>
                  </a:lnTo>
                  <a:lnTo>
                    <a:pt x="3024" y="24"/>
                  </a:lnTo>
                  <a:lnTo>
                    <a:pt x="3088" y="24"/>
                  </a:lnTo>
                  <a:lnTo>
                    <a:pt x="3088" y="24"/>
                  </a:lnTo>
                  <a:lnTo>
                    <a:pt x="3132" y="24"/>
                  </a:lnTo>
                  <a:lnTo>
                    <a:pt x="3132" y="24"/>
                  </a:lnTo>
                  <a:lnTo>
                    <a:pt x="3156" y="24"/>
                  </a:lnTo>
                  <a:lnTo>
                    <a:pt x="3178" y="24"/>
                  </a:lnTo>
                  <a:lnTo>
                    <a:pt x="3178" y="24"/>
                  </a:lnTo>
                  <a:lnTo>
                    <a:pt x="3190" y="24"/>
                  </a:lnTo>
                  <a:lnTo>
                    <a:pt x="3202" y="26"/>
                  </a:lnTo>
                  <a:lnTo>
                    <a:pt x="3202" y="26"/>
                  </a:lnTo>
                  <a:lnTo>
                    <a:pt x="3208" y="24"/>
                  </a:lnTo>
                  <a:lnTo>
                    <a:pt x="3208" y="24"/>
                  </a:lnTo>
                  <a:lnTo>
                    <a:pt x="3214" y="24"/>
                  </a:lnTo>
                  <a:lnTo>
                    <a:pt x="3222" y="26"/>
                  </a:lnTo>
                  <a:lnTo>
                    <a:pt x="3222" y="26"/>
                  </a:lnTo>
                  <a:lnTo>
                    <a:pt x="3246" y="26"/>
                  </a:lnTo>
                  <a:lnTo>
                    <a:pt x="3268" y="24"/>
                  </a:lnTo>
                  <a:lnTo>
                    <a:pt x="3268" y="24"/>
                  </a:lnTo>
                  <a:lnTo>
                    <a:pt x="3278" y="26"/>
                  </a:lnTo>
                  <a:lnTo>
                    <a:pt x="3278" y="26"/>
                  </a:lnTo>
                  <a:lnTo>
                    <a:pt x="3334" y="26"/>
                  </a:lnTo>
                  <a:lnTo>
                    <a:pt x="3390" y="26"/>
                  </a:lnTo>
                  <a:lnTo>
                    <a:pt x="3390" y="26"/>
                  </a:lnTo>
                  <a:lnTo>
                    <a:pt x="3404" y="26"/>
                  </a:lnTo>
                  <a:lnTo>
                    <a:pt x="3418" y="24"/>
                  </a:lnTo>
                  <a:lnTo>
                    <a:pt x="3418" y="24"/>
                  </a:lnTo>
                  <a:lnTo>
                    <a:pt x="3446" y="24"/>
                  </a:lnTo>
                  <a:lnTo>
                    <a:pt x="3470" y="26"/>
                  </a:lnTo>
                  <a:lnTo>
                    <a:pt x="3470" y="26"/>
                  </a:lnTo>
                  <a:lnTo>
                    <a:pt x="3496" y="26"/>
                  </a:lnTo>
                  <a:lnTo>
                    <a:pt x="3496" y="26"/>
                  </a:lnTo>
                  <a:lnTo>
                    <a:pt x="3532" y="24"/>
                  </a:lnTo>
                  <a:lnTo>
                    <a:pt x="3532" y="24"/>
                  </a:lnTo>
                  <a:lnTo>
                    <a:pt x="3544" y="24"/>
                  </a:lnTo>
                  <a:lnTo>
                    <a:pt x="3556" y="26"/>
                  </a:lnTo>
                  <a:lnTo>
                    <a:pt x="3556" y="26"/>
                  </a:lnTo>
                  <a:lnTo>
                    <a:pt x="3578" y="26"/>
                  </a:lnTo>
                  <a:lnTo>
                    <a:pt x="3598" y="26"/>
                  </a:lnTo>
                  <a:lnTo>
                    <a:pt x="3598" y="26"/>
                  </a:lnTo>
                  <a:lnTo>
                    <a:pt x="3622" y="26"/>
                  </a:lnTo>
                  <a:lnTo>
                    <a:pt x="3622" y="26"/>
                  </a:lnTo>
                  <a:lnTo>
                    <a:pt x="3634" y="26"/>
                  </a:lnTo>
                  <a:lnTo>
                    <a:pt x="3646" y="26"/>
                  </a:lnTo>
                  <a:lnTo>
                    <a:pt x="3646" y="26"/>
                  </a:lnTo>
                  <a:lnTo>
                    <a:pt x="3658" y="26"/>
                  </a:lnTo>
                  <a:lnTo>
                    <a:pt x="3670" y="26"/>
                  </a:lnTo>
                  <a:lnTo>
                    <a:pt x="3670" y="26"/>
                  </a:lnTo>
                  <a:lnTo>
                    <a:pt x="3706" y="26"/>
                  </a:lnTo>
                  <a:lnTo>
                    <a:pt x="3742" y="26"/>
                  </a:lnTo>
                  <a:lnTo>
                    <a:pt x="3742" y="26"/>
                  </a:lnTo>
                  <a:lnTo>
                    <a:pt x="3788" y="26"/>
                  </a:lnTo>
                  <a:lnTo>
                    <a:pt x="3788" y="26"/>
                  </a:lnTo>
                  <a:lnTo>
                    <a:pt x="3810" y="28"/>
                  </a:lnTo>
                  <a:lnTo>
                    <a:pt x="3810" y="28"/>
                  </a:lnTo>
                  <a:lnTo>
                    <a:pt x="3816" y="26"/>
                  </a:lnTo>
                  <a:lnTo>
                    <a:pt x="3816" y="26"/>
                  </a:lnTo>
                  <a:lnTo>
                    <a:pt x="3820" y="26"/>
                  </a:lnTo>
                  <a:lnTo>
                    <a:pt x="3824" y="28"/>
                  </a:lnTo>
                  <a:lnTo>
                    <a:pt x="3824" y="28"/>
                  </a:lnTo>
                  <a:lnTo>
                    <a:pt x="3832" y="26"/>
                  </a:lnTo>
                  <a:lnTo>
                    <a:pt x="3832" y="26"/>
                  </a:lnTo>
                  <a:lnTo>
                    <a:pt x="3846" y="24"/>
                  </a:lnTo>
                  <a:lnTo>
                    <a:pt x="3846" y="24"/>
                  </a:lnTo>
                  <a:lnTo>
                    <a:pt x="3850" y="24"/>
                  </a:lnTo>
                  <a:lnTo>
                    <a:pt x="3850" y="24"/>
                  </a:lnTo>
                  <a:lnTo>
                    <a:pt x="3856" y="26"/>
                  </a:lnTo>
                  <a:lnTo>
                    <a:pt x="3864" y="26"/>
                  </a:lnTo>
                  <a:lnTo>
                    <a:pt x="3878" y="24"/>
                  </a:lnTo>
                  <a:lnTo>
                    <a:pt x="3878" y="24"/>
                  </a:lnTo>
                  <a:lnTo>
                    <a:pt x="3890" y="24"/>
                  </a:lnTo>
                  <a:lnTo>
                    <a:pt x="3890" y="24"/>
                  </a:lnTo>
                  <a:lnTo>
                    <a:pt x="3900" y="24"/>
                  </a:lnTo>
                  <a:lnTo>
                    <a:pt x="3906" y="22"/>
                  </a:lnTo>
                  <a:lnTo>
                    <a:pt x="3910" y="20"/>
                  </a:lnTo>
                  <a:lnTo>
                    <a:pt x="3910" y="20"/>
                  </a:lnTo>
                  <a:lnTo>
                    <a:pt x="3914" y="20"/>
                  </a:lnTo>
                  <a:lnTo>
                    <a:pt x="3916" y="18"/>
                  </a:lnTo>
                  <a:lnTo>
                    <a:pt x="3916" y="18"/>
                  </a:lnTo>
                  <a:lnTo>
                    <a:pt x="3916" y="18"/>
                  </a:lnTo>
                  <a:lnTo>
                    <a:pt x="3916" y="18"/>
                  </a:lnTo>
                  <a:lnTo>
                    <a:pt x="3916" y="16"/>
                  </a:lnTo>
                  <a:lnTo>
                    <a:pt x="3916" y="14"/>
                  </a:lnTo>
                  <a:lnTo>
                    <a:pt x="3916" y="14"/>
                  </a:lnTo>
                  <a:lnTo>
                    <a:pt x="3868" y="14"/>
                  </a:lnTo>
                  <a:lnTo>
                    <a:pt x="3844" y="14"/>
                  </a:lnTo>
                  <a:lnTo>
                    <a:pt x="3820" y="12"/>
                  </a:lnTo>
                  <a:lnTo>
                    <a:pt x="3820" y="12"/>
                  </a:lnTo>
                  <a:close/>
                  <a:moveTo>
                    <a:pt x="744" y="10"/>
                  </a:moveTo>
                  <a:lnTo>
                    <a:pt x="744" y="10"/>
                  </a:lnTo>
                  <a:lnTo>
                    <a:pt x="744" y="8"/>
                  </a:lnTo>
                  <a:lnTo>
                    <a:pt x="744" y="8"/>
                  </a:lnTo>
                  <a:lnTo>
                    <a:pt x="744" y="8"/>
                  </a:lnTo>
                  <a:lnTo>
                    <a:pt x="746" y="8"/>
                  </a:lnTo>
                  <a:lnTo>
                    <a:pt x="744" y="10"/>
                  </a:lnTo>
                  <a:lnTo>
                    <a:pt x="744" y="10"/>
                  </a:lnTo>
                  <a:close/>
                  <a:moveTo>
                    <a:pt x="2874" y="18"/>
                  </a:moveTo>
                  <a:lnTo>
                    <a:pt x="2874" y="18"/>
                  </a:lnTo>
                  <a:lnTo>
                    <a:pt x="2874" y="16"/>
                  </a:lnTo>
                  <a:lnTo>
                    <a:pt x="2874" y="16"/>
                  </a:lnTo>
                  <a:lnTo>
                    <a:pt x="2876" y="18"/>
                  </a:lnTo>
                  <a:lnTo>
                    <a:pt x="2876" y="18"/>
                  </a:lnTo>
                  <a:lnTo>
                    <a:pt x="2874" y="18"/>
                  </a:lnTo>
                  <a:lnTo>
                    <a:pt x="2874" y="18"/>
                  </a:lnTo>
                  <a:close/>
                  <a:moveTo>
                    <a:pt x="3160" y="18"/>
                  </a:moveTo>
                  <a:lnTo>
                    <a:pt x="3160" y="18"/>
                  </a:lnTo>
                  <a:lnTo>
                    <a:pt x="3160" y="16"/>
                  </a:lnTo>
                  <a:lnTo>
                    <a:pt x="3160" y="16"/>
                  </a:lnTo>
                  <a:lnTo>
                    <a:pt x="3162" y="16"/>
                  </a:lnTo>
                  <a:lnTo>
                    <a:pt x="3162" y="16"/>
                  </a:lnTo>
                  <a:lnTo>
                    <a:pt x="3162" y="16"/>
                  </a:lnTo>
                  <a:lnTo>
                    <a:pt x="3160" y="18"/>
                  </a:lnTo>
                  <a:lnTo>
                    <a:pt x="3160" y="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77" dirty="0"/>
            </a:p>
          </p:txBody>
        </p:sp>
      </p:grpSp>
    </p:spTree>
    <p:extLst>
      <p:ext uri="{BB962C8B-B14F-4D97-AF65-F5344CB8AC3E}">
        <p14:creationId xmlns:p14="http://schemas.microsoft.com/office/powerpoint/2010/main" val="41537494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5489AFE-A44B-4116-8BEE-531DA422A3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0122" y="-9236"/>
            <a:ext cx="5111877" cy="419709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43144" y="2586361"/>
            <a:ext cx="9054918" cy="1470025"/>
          </a:xfrm>
        </p:spPr>
        <p:txBody>
          <a:bodyPr wrap="square" lIns="91521" tIns="45761" rIns="91440" bIns="45761">
            <a:noAutofit/>
          </a:bodyPr>
          <a:lstStyle>
            <a:lvl1pPr algn="l">
              <a:lnSpc>
                <a:spcPct val="95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43144" y="4028010"/>
            <a:ext cx="9054918" cy="1120351"/>
          </a:xfrm>
        </p:spPr>
        <p:txBody>
          <a:bodyPr wrap="square" lIns="91521" tIns="45761" rIns="91440" bIns="4576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00" b="0">
                <a:solidFill>
                  <a:schemeClr val="accent1"/>
                </a:solidFill>
              </a:defRPr>
            </a:lvl1pPr>
            <a:lvl2pPr marL="0" indent="0">
              <a:lnSpc>
                <a:spcPct val="85000"/>
              </a:lnSpc>
              <a:spcBef>
                <a:spcPts val="4400"/>
              </a:spcBef>
              <a:buFont typeface="Arial" panose="020B0604020202020204" pitchFamily="34" charset="0"/>
              <a:buChar char="​"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85000"/>
              </a:lnSpc>
              <a:buFont typeface="Arial" panose="020B0604020202020204" pitchFamily="34" charset="0"/>
              <a:buChar char="​"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85000"/>
              </a:lnSpc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4pPr>
            <a:lvl5pPr marL="0" indent="0">
              <a:lnSpc>
                <a:spcPct val="85000"/>
              </a:lnSpc>
              <a:buFont typeface="Arial" panose="020B0604020202020204" pitchFamily="34" charset="0"/>
              <a:buChar char="​"/>
              <a:defRPr sz="1600" b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dirty="0">
                <a:solidFill>
                  <a:srgbClr val="A2A5A2">
                    <a:lumMod val="50000"/>
                  </a:srgbClr>
                </a:solidFill>
              </a:rPr>
              <a:t>© 2018 NetApp, Inc. All rights reserved. 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 dirty="0"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A8C32CF-CE42-4CC7-A1AD-548B295F266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6831" y="990600"/>
            <a:ext cx="1829276" cy="33528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43144" y="5148360"/>
            <a:ext cx="9054918" cy="378972"/>
          </a:xfrm>
        </p:spPr>
        <p:txBody>
          <a:bodyPr anchor="ctr"/>
          <a:lstStyle>
            <a:lvl1pPr marL="0" indent="0">
              <a:buFontTx/>
              <a:buNone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Presenter’s Nam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43144" y="5445777"/>
            <a:ext cx="9054918" cy="378972"/>
          </a:xfrm>
        </p:spPr>
        <p:txBody>
          <a:bodyPr anchor="ctr"/>
          <a:lstStyle>
            <a:lvl1pPr marL="0" indent="0">
              <a:buFontTx/>
              <a:buNone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Presenter’s Titl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43144" y="5769492"/>
            <a:ext cx="9054918" cy="378972"/>
          </a:xfrm>
        </p:spPr>
        <p:txBody>
          <a:bodyPr anchor="ctr"/>
          <a:lstStyle>
            <a:lvl1pPr marL="0" indent="0">
              <a:buFontTx/>
              <a:buNone/>
              <a:defRPr kumimoji="0" lang="en-US" sz="18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933105640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60A3E5A4-8CB8-4966-9F87-6858B16140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16" y="1"/>
            <a:ext cx="12178985" cy="2289053"/>
          </a:xfrm>
          <a:prstGeom prst="rect">
            <a:avLst/>
          </a:prstGeom>
        </p:spPr>
      </p:pic>
      <p:sp>
        <p:nvSpPr>
          <p:cNvPr id="25" name="Text Placeholder 24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1572391" y="4085414"/>
            <a:ext cx="9047153" cy="928189"/>
          </a:xfrm>
        </p:spPr>
        <p:txBody>
          <a:bodyPr wrap="square" lIns="91521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2200" b="0">
                <a:solidFill>
                  <a:schemeClr val="accent1"/>
                </a:solidFill>
              </a:defRPr>
            </a:lvl1pPr>
            <a:lvl2pPr marL="115992" indent="-115992">
              <a:lnSpc>
                <a:spcPct val="85000"/>
              </a:lnSpc>
              <a:buFont typeface="Arial" panose="020B0604020202020204" pitchFamily="34" charset="0"/>
              <a:buChar char=" "/>
              <a:defRPr sz="2300" b="0">
                <a:solidFill>
                  <a:schemeClr val="bg2"/>
                </a:solidFill>
              </a:defRPr>
            </a:lvl2pPr>
            <a:lvl3pPr marL="115992" indent="-115992">
              <a:lnSpc>
                <a:spcPct val="85000"/>
              </a:lnSpc>
              <a:buFont typeface="Arial" panose="020B0604020202020204" pitchFamily="34" charset="0"/>
              <a:buChar char=" "/>
              <a:defRPr sz="2300" b="0">
                <a:solidFill>
                  <a:schemeClr val="bg2"/>
                </a:solidFill>
              </a:defRPr>
            </a:lvl3pPr>
            <a:lvl4pPr marL="115992" indent="-115992">
              <a:lnSpc>
                <a:spcPct val="85000"/>
              </a:lnSpc>
              <a:buFont typeface="Arial" panose="020B0604020202020204" pitchFamily="34" charset="0"/>
              <a:buChar char=" "/>
              <a:defRPr sz="2300" b="0">
                <a:solidFill>
                  <a:schemeClr val="bg2"/>
                </a:solidFill>
              </a:defRPr>
            </a:lvl4pPr>
            <a:lvl5pPr marL="115992" indent="-115992">
              <a:lnSpc>
                <a:spcPct val="85000"/>
              </a:lnSpc>
              <a:buFont typeface="Arial" panose="020B0604020202020204" pitchFamily="34" charset="0"/>
              <a:buChar char=" "/>
              <a:defRPr sz="2300" b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1572390" y="2586360"/>
            <a:ext cx="9047154" cy="1472184"/>
          </a:xfrm>
        </p:spPr>
        <p:txBody>
          <a:bodyPr wrap="square" lIns="91521">
            <a:noAutofit/>
          </a:bodyPr>
          <a:lstStyle>
            <a:lvl1pPr algn="l">
              <a:lnSpc>
                <a:spcPct val="95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dirty="0">
                <a:solidFill>
                  <a:srgbClr val="A2A5A2">
                    <a:lumMod val="50000"/>
                  </a:srgbClr>
                </a:solidFill>
              </a:rPr>
              <a:t>© 2018 NetApp, Inc. All rights reserved. 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 dirty="0"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88716FB-C701-449A-8043-5F0611D035D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34" y="1"/>
            <a:ext cx="2746361" cy="2289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781720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63031" y="232384"/>
            <a:ext cx="6585395" cy="912741"/>
          </a:xfrm>
        </p:spPr>
        <p:txBody>
          <a:bodyPr wrap="square" lIns="91521">
            <a:noAutofit/>
          </a:bodyPr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0" name="Content Placeholder 39"/>
          <p:cNvSpPr>
            <a:spLocks noGrp="1"/>
          </p:cNvSpPr>
          <p:nvPr>
            <p:ph sz="quarter" idx="15" hasCustomPrompt="1"/>
          </p:nvPr>
        </p:nvSpPr>
        <p:spPr bwMode="gray">
          <a:xfrm>
            <a:off x="263031" y="1733423"/>
            <a:ext cx="5945148" cy="4480055"/>
          </a:xfrm>
        </p:spPr>
        <p:txBody>
          <a:bodyPr wrap="square" lIns="91521">
            <a:noAutofit/>
          </a:bodyPr>
          <a:lstStyle>
            <a:lvl1pPr marL="343205" indent="-343205">
              <a:buFont typeface="+mj-lt"/>
              <a:buAutoNum type="arabicParenR"/>
              <a:defRPr sz="2200">
                <a:solidFill>
                  <a:schemeClr val="accent1"/>
                </a:solidFill>
              </a:defRPr>
            </a:lvl1pPr>
            <a:lvl2pPr marL="572009" indent="-228804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800813" indent="-228804"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§"/>
              <a:defRPr sz="1600"/>
            </a:lvl3pPr>
            <a:lvl4pPr marL="1029617" indent="-228804"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§"/>
              <a:defRPr sz="1400"/>
            </a:lvl4pPr>
            <a:lvl5pPr marL="1258421" indent="-228804"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§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263030" y="1106419"/>
            <a:ext cx="6585395" cy="400109"/>
          </a:xfrm>
        </p:spPr>
        <p:txBody>
          <a:bodyPr lIns="91521" tIns="45761" rIns="91521" bIns="45761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1pPr>
            <a:lvl2pPr marL="457608" indent="0">
              <a:buNone/>
              <a:defRPr sz="2000" b="1"/>
            </a:lvl2pPr>
            <a:lvl3pPr marL="915216" indent="0">
              <a:buNone/>
              <a:defRPr sz="1900" b="1"/>
            </a:lvl3pPr>
            <a:lvl4pPr marL="1372822" indent="0">
              <a:buNone/>
              <a:defRPr sz="1600" b="1"/>
            </a:lvl4pPr>
            <a:lvl5pPr marL="1830430" indent="0">
              <a:buNone/>
              <a:defRPr sz="1600" b="1"/>
            </a:lvl5pPr>
            <a:lvl6pPr marL="2288038" indent="0">
              <a:buNone/>
              <a:defRPr sz="1600" b="1"/>
            </a:lvl6pPr>
            <a:lvl7pPr marL="2745646" indent="0">
              <a:buNone/>
              <a:defRPr sz="1600" b="1"/>
            </a:lvl7pPr>
            <a:lvl8pPr marL="3203253" indent="0">
              <a:buNone/>
              <a:defRPr sz="1600" b="1"/>
            </a:lvl8pPr>
            <a:lvl9pPr marL="3660861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dirty="0">
                <a:solidFill>
                  <a:srgbClr val="A2A5A2">
                    <a:lumMod val="50000"/>
                  </a:srgbClr>
                </a:solidFill>
              </a:rPr>
              <a:t>© 2018 NetApp, Inc. All rights reserved. 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 dirty="0"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2B1DE7B-9588-45A9-B4CA-A749F744B51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850381" y="0"/>
            <a:ext cx="3341619" cy="2466608"/>
            <a:chOff x="8848076" y="0"/>
            <a:chExt cx="3340749" cy="2466608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CD3FF8CF-3042-4A20-91B5-FB66AEA6A1E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22899" y="647879"/>
              <a:ext cx="868611" cy="724062"/>
            </a:xfrm>
            <a:prstGeom prst="rect">
              <a:avLst/>
            </a:prstGeom>
          </p:spPr>
        </p:pic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161E791-21E5-40C6-9804-4D79551C90B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091545" y="1371600"/>
              <a:ext cx="1097280" cy="1095008"/>
            </a:xfrm>
            <a:prstGeom prst="rect">
              <a:avLst/>
            </a:prstGeom>
            <a:solidFill>
              <a:srgbClr val="126EA8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5216">
                <a:lnSpc>
                  <a:spcPct val="95000"/>
                </a:lnSpc>
              </a:pPr>
              <a:endParaRPr lang="en-US" sz="1900" dirty="0" err="1">
                <a:solidFill>
                  <a:srgbClr val="5A5A5A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B0C2CA3-32D6-47F4-ABC3-866431349AD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091545" y="0"/>
              <a:ext cx="649224" cy="647879"/>
            </a:xfrm>
            <a:prstGeom prst="rect">
              <a:avLst/>
            </a:prstGeom>
            <a:solidFill>
              <a:srgbClr val="A2E1D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5216">
                <a:lnSpc>
                  <a:spcPct val="95000"/>
                </a:lnSpc>
              </a:pPr>
              <a:endParaRPr lang="en-US" sz="1900" dirty="0" err="1">
                <a:solidFill>
                  <a:srgbClr val="5A5A5A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8B5FA5D-C46B-48AC-8A5F-100547C5BD7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848076" y="0"/>
              <a:ext cx="1374789" cy="1371941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5216">
                <a:lnSpc>
                  <a:spcPct val="95000"/>
                </a:lnSpc>
              </a:pPr>
              <a:endParaRPr lang="en-US" sz="1900" dirty="0" err="1">
                <a:solidFill>
                  <a:srgbClr val="5A5A5A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7DB503E-9645-4252-B767-CF2ED689D54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9728064" y="1371941"/>
              <a:ext cx="494801" cy="493776"/>
            </a:xfrm>
            <a:prstGeom prst="rect">
              <a:avLst/>
            </a:prstGeom>
            <a:solidFill>
              <a:srgbClr val="06264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5216">
                <a:lnSpc>
                  <a:spcPct val="95000"/>
                </a:lnSpc>
              </a:pPr>
              <a:endParaRPr lang="en-US" sz="1900" dirty="0" err="1">
                <a:solidFill>
                  <a:srgbClr val="5A5A5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89309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63031" y="232384"/>
            <a:ext cx="11661637" cy="912741"/>
          </a:xfrm>
        </p:spPr>
        <p:txBody>
          <a:bodyPr wrap="square" lIns="91521">
            <a:noAutofit/>
          </a:bodyPr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0" name="Content Placeholder 39"/>
          <p:cNvSpPr>
            <a:spLocks noGrp="1"/>
          </p:cNvSpPr>
          <p:nvPr>
            <p:ph sz="quarter" idx="15" hasCustomPrompt="1"/>
          </p:nvPr>
        </p:nvSpPr>
        <p:spPr bwMode="gray">
          <a:xfrm>
            <a:off x="263032" y="1733423"/>
            <a:ext cx="5743093" cy="4480055"/>
          </a:xfrm>
        </p:spPr>
        <p:txBody>
          <a:bodyPr wrap="square" lIns="91521">
            <a:noAutofit/>
          </a:bodyPr>
          <a:lstStyle>
            <a:lvl1pPr marL="343205" indent="-343205">
              <a:buFont typeface="+mj-lt"/>
              <a:buAutoNum type="arabicParenR"/>
              <a:defRPr sz="2200">
                <a:solidFill>
                  <a:schemeClr val="accent1"/>
                </a:solidFill>
              </a:defRPr>
            </a:lvl1pPr>
            <a:lvl2pPr marL="572009" indent="-228804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800813" indent="-228804"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§"/>
              <a:defRPr sz="1600"/>
            </a:lvl3pPr>
            <a:lvl4pPr marL="1029617" indent="-228804"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§"/>
              <a:defRPr sz="1400"/>
            </a:lvl4pPr>
            <a:lvl5pPr marL="1258421" indent="-228804"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§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263030" y="1106419"/>
            <a:ext cx="11661637" cy="400109"/>
          </a:xfrm>
        </p:spPr>
        <p:txBody>
          <a:bodyPr lIns="91521" tIns="45761" rIns="91521" bIns="45761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1pPr>
            <a:lvl2pPr marL="457608" indent="0">
              <a:buNone/>
              <a:defRPr sz="2000" b="1"/>
            </a:lvl2pPr>
            <a:lvl3pPr marL="915216" indent="0">
              <a:buNone/>
              <a:defRPr sz="1900" b="1"/>
            </a:lvl3pPr>
            <a:lvl4pPr marL="1372822" indent="0">
              <a:buNone/>
              <a:defRPr sz="1600" b="1"/>
            </a:lvl4pPr>
            <a:lvl5pPr marL="1830430" indent="0">
              <a:buNone/>
              <a:defRPr sz="1600" b="1"/>
            </a:lvl5pPr>
            <a:lvl6pPr marL="2288038" indent="0">
              <a:buNone/>
              <a:defRPr sz="1600" b="1"/>
            </a:lvl6pPr>
            <a:lvl7pPr marL="2745646" indent="0">
              <a:buNone/>
              <a:defRPr sz="1600" b="1"/>
            </a:lvl7pPr>
            <a:lvl8pPr marL="3203253" indent="0">
              <a:buNone/>
              <a:defRPr sz="1600" b="1"/>
            </a:lvl8pPr>
            <a:lvl9pPr marL="3660861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dirty="0">
                <a:solidFill>
                  <a:srgbClr val="A2A5A2">
                    <a:lumMod val="50000"/>
                  </a:srgbClr>
                </a:solidFill>
              </a:rPr>
              <a:t>© 2018 NetApp, Inc. All rights reserved. 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 dirty="0"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  <p:sp>
        <p:nvSpPr>
          <p:cNvPr id="14" name="Content Placeholder 39"/>
          <p:cNvSpPr>
            <a:spLocks noGrp="1"/>
          </p:cNvSpPr>
          <p:nvPr>
            <p:ph sz="quarter" idx="16" hasCustomPrompt="1"/>
          </p:nvPr>
        </p:nvSpPr>
        <p:spPr bwMode="gray">
          <a:xfrm>
            <a:off x="6181576" y="1733423"/>
            <a:ext cx="5743093" cy="4480055"/>
          </a:xfrm>
        </p:spPr>
        <p:txBody>
          <a:bodyPr wrap="square" lIns="91521">
            <a:noAutofit/>
          </a:bodyPr>
          <a:lstStyle>
            <a:lvl1pPr marL="343205" indent="-343205">
              <a:buFont typeface="+mj-lt"/>
              <a:buAutoNum type="arabicParenR" startAt="5"/>
              <a:defRPr sz="2200">
                <a:solidFill>
                  <a:schemeClr val="accent1"/>
                </a:solidFill>
              </a:defRPr>
            </a:lvl1pPr>
            <a:lvl2pPr marL="572009" indent="-228804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800813" indent="-228804"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§"/>
              <a:defRPr sz="1600"/>
            </a:lvl3pPr>
            <a:lvl4pPr marL="1029617" indent="-228804"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§"/>
              <a:defRPr sz="1400"/>
            </a:lvl4pPr>
            <a:lvl5pPr marL="1258421" indent="-228804"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§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6368877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3031" y="240330"/>
            <a:ext cx="11661637" cy="904795"/>
          </a:xfrm>
        </p:spPr>
        <p:txBody>
          <a:bodyPr wrap="square" lIns="91521">
            <a:noAutofit/>
          </a:bodyPr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8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263031" y="1733552"/>
            <a:ext cx="11661637" cy="4479925"/>
          </a:xfrm>
        </p:spPr>
        <p:txBody>
          <a:bodyPr wrap="square" lIns="91521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9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263031" y="1106419"/>
            <a:ext cx="11661637" cy="400109"/>
          </a:xfrm>
        </p:spPr>
        <p:txBody>
          <a:bodyPr lIns="91521" tIns="45761" rIns="91521" bIns="45761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1pPr>
            <a:lvl2pPr marL="457608" indent="0">
              <a:buNone/>
              <a:defRPr sz="2000" b="1"/>
            </a:lvl2pPr>
            <a:lvl3pPr marL="915216" indent="0">
              <a:buNone/>
              <a:defRPr sz="1900" b="1"/>
            </a:lvl3pPr>
            <a:lvl4pPr marL="1372822" indent="0">
              <a:buNone/>
              <a:defRPr sz="1600" b="1"/>
            </a:lvl4pPr>
            <a:lvl5pPr marL="1830430" indent="0">
              <a:buNone/>
              <a:defRPr sz="1600" b="1"/>
            </a:lvl5pPr>
            <a:lvl6pPr marL="2288038" indent="0">
              <a:buNone/>
              <a:defRPr sz="1600" b="1"/>
            </a:lvl6pPr>
            <a:lvl7pPr marL="2745646" indent="0">
              <a:buNone/>
              <a:defRPr sz="1600" b="1"/>
            </a:lvl7pPr>
            <a:lvl8pPr marL="3203253" indent="0">
              <a:buNone/>
              <a:defRPr sz="1600" b="1"/>
            </a:lvl8pPr>
            <a:lvl9pPr marL="3660861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dirty="0">
                <a:solidFill>
                  <a:srgbClr val="A2A5A2">
                    <a:lumMod val="50000"/>
                  </a:srgbClr>
                </a:solidFill>
              </a:rPr>
              <a:t>© 2018 NetApp, Inc. All rights reserved. 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 dirty="0"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2425247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No Subtitle, N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3031" y="240330"/>
            <a:ext cx="11661637" cy="904795"/>
          </a:xfrm>
        </p:spPr>
        <p:txBody>
          <a:bodyPr wrap="square" lIns="91521">
            <a:noAutofit/>
          </a:bodyPr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8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263031" y="1735709"/>
            <a:ext cx="11661637" cy="4479897"/>
          </a:xfrm>
        </p:spPr>
        <p:txBody>
          <a:bodyPr wrap="square" lIns="91521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dirty="0">
                <a:solidFill>
                  <a:srgbClr val="A2A5A2">
                    <a:lumMod val="50000"/>
                  </a:srgbClr>
                </a:solidFill>
              </a:rPr>
              <a:t>© 2018 NetApp, Inc. All rights reserved. 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 dirty="0"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342600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3031" y="240330"/>
            <a:ext cx="11661637" cy="904795"/>
          </a:xfrm>
        </p:spPr>
        <p:txBody>
          <a:bodyPr wrap="square" lIns="91521">
            <a:noAutofit/>
          </a:bodyPr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8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263031" y="1733552"/>
            <a:ext cx="11661637" cy="4479925"/>
          </a:xfrm>
        </p:spPr>
        <p:txBody>
          <a:bodyPr wrap="square" lIns="91521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9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263031" y="1106419"/>
            <a:ext cx="11661637" cy="400109"/>
          </a:xfrm>
        </p:spPr>
        <p:txBody>
          <a:bodyPr lIns="91521" tIns="45761" rIns="91521" bIns="45761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1pPr>
            <a:lvl2pPr marL="457608" indent="0">
              <a:buNone/>
              <a:defRPr sz="2000" b="1"/>
            </a:lvl2pPr>
            <a:lvl3pPr marL="915216" indent="0">
              <a:buNone/>
              <a:defRPr sz="1900" b="1"/>
            </a:lvl3pPr>
            <a:lvl4pPr marL="1372822" indent="0">
              <a:buNone/>
              <a:defRPr sz="1600" b="1"/>
            </a:lvl4pPr>
            <a:lvl5pPr marL="1830430" indent="0">
              <a:buNone/>
              <a:defRPr sz="1600" b="1"/>
            </a:lvl5pPr>
            <a:lvl6pPr marL="2288038" indent="0">
              <a:buNone/>
              <a:defRPr sz="1600" b="1"/>
            </a:lvl6pPr>
            <a:lvl7pPr marL="2745646" indent="0">
              <a:buNone/>
              <a:defRPr sz="1600" b="1"/>
            </a:lvl7pPr>
            <a:lvl8pPr marL="3203253" indent="0">
              <a:buNone/>
              <a:defRPr sz="1600" b="1"/>
            </a:lvl8pPr>
            <a:lvl9pPr marL="3660861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‹#›</a:t>
            </a:fld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5735" y="6494553"/>
            <a:ext cx="1042688" cy="191110"/>
          </a:xfrm>
          <a:prstGeom prst="rect">
            <a:avLst/>
          </a:prstGeom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dirty="0">
                <a:solidFill>
                  <a:srgbClr val="A2A5A2">
                    <a:lumMod val="50000"/>
                  </a:srgbClr>
                </a:solidFill>
              </a:rPr>
              <a:t>© 2018 NetApp, Inc. All rights reserved. 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 dirty="0"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 dirty="0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63031" y="6238647"/>
            <a:ext cx="10377699" cy="215444"/>
          </a:xfrm>
        </p:spPr>
        <p:txBody>
          <a:bodyPr lIns="91521" tIns="45761" rIns="91521" bIns="45761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" baseline="0">
                <a:solidFill>
                  <a:schemeClr val="bg2">
                    <a:lumMod val="50000"/>
                  </a:schemeClr>
                </a:solidFill>
              </a:defRPr>
            </a:lvl1pPr>
            <a:lvl2pPr marL="228804" indent="0">
              <a:buFontTx/>
              <a:buNone/>
              <a:defRPr sz="800">
                <a:solidFill>
                  <a:schemeClr val="bg2"/>
                </a:solidFill>
              </a:defRPr>
            </a:lvl2pPr>
            <a:lvl3pPr marL="457608" indent="0">
              <a:buFontTx/>
              <a:buNone/>
              <a:defRPr sz="800">
                <a:solidFill>
                  <a:schemeClr val="bg2"/>
                </a:solidFill>
              </a:defRPr>
            </a:lvl3pPr>
            <a:lvl4pPr marL="686412" indent="0">
              <a:buFontTx/>
              <a:buNone/>
              <a:defRPr sz="800">
                <a:solidFill>
                  <a:schemeClr val="bg2"/>
                </a:solidFill>
              </a:defRPr>
            </a:lvl4pPr>
            <a:lvl5pPr>
              <a:buFontTx/>
              <a:buNone/>
              <a:defRPr sz="8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insert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1949125730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3031" y="240330"/>
            <a:ext cx="11661637" cy="904795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3031" y="1733067"/>
            <a:ext cx="11661637" cy="4480053"/>
          </a:xfrm>
          <a:prstGeom prst="rect">
            <a:avLst/>
          </a:prstGeom>
        </p:spPr>
        <p:txBody>
          <a:bodyPr vert="horz" wrap="square" lIns="91521" tIns="45761" rIns="91521" bIns="4576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800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defTabSz="915216"/>
            <a:r>
              <a:rPr lang="en-US">
                <a:solidFill>
                  <a:srgbClr val="A2A5A2">
                    <a:lumMod val="50000"/>
                  </a:srgbClr>
                </a:solidFill>
              </a:rPr>
              <a:t>© 2018 NetApp, Inc. All rights reserved.  </a:t>
            </a:r>
            <a:r>
              <a:rPr lang="en-US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 lang="en-US"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 lang="en-US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 lang="en-US" dirty="0">
              <a:solidFill>
                <a:srgbClr val="A2A5A2">
                  <a:lumMod val="50000"/>
                </a:srgb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94490" y="6462574"/>
            <a:ext cx="448654" cy="260809"/>
          </a:xfrm>
          <a:prstGeom prst="rect">
            <a:avLst/>
          </a:prstGeom>
        </p:spPr>
        <p:txBody>
          <a:bodyPr vert="horz" wrap="square" lIns="91521" tIns="45761" rIns="91521" bIns="45761" rtlCol="0" anchor="b">
            <a:noAutofit/>
          </a:bodyPr>
          <a:lstStyle>
            <a:lvl1pPr>
              <a:defRPr lang="en-US" sz="1050" b="1" smtClean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defTabSz="915216"/>
            <a:fld id="{B071A5F3-A4FF-4CEE-8215-C08835B585C1}" type="slidenum">
              <a:rPr lang="en-US" smtClean="0">
                <a:solidFill>
                  <a:srgbClr val="A2A5A2">
                    <a:lumMod val="50000"/>
                  </a:srgbClr>
                </a:solidFill>
              </a:rPr>
              <a:pPr defTabSz="915216"/>
              <a:t>‹#›</a:t>
            </a:fld>
            <a:endParaRPr lang="en-US" dirty="0">
              <a:solidFill>
                <a:srgbClr val="A2A5A2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548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</p:sldLayoutIdLst>
  <p:transition spd="med">
    <p:fade/>
  </p:transition>
  <p:hf hdr="0" dt="0"/>
  <p:txStyles>
    <p:titleStyle>
      <a:lvl1pPr algn="l" defTabSz="915216" rtl="0" eaLnBrk="1" latinLnBrk="0" hangingPunct="1">
        <a:lnSpc>
          <a:spcPct val="80000"/>
        </a:lnSpc>
        <a:spcBef>
          <a:spcPct val="0"/>
        </a:spcBef>
        <a:buNone/>
        <a:defRPr sz="3000" b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5159" indent="-235159" algn="l" defTabSz="915216" rtl="0" eaLnBrk="1" latinLnBrk="0" hangingPunct="1">
        <a:lnSpc>
          <a:spcPct val="95000"/>
        </a:lnSpc>
        <a:spcBef>
          <a:spcPts val="1200"/>
        </a:spcBef>
        <a:spcAft>
          <a:spcPts val="400"/>
        </a:spcAft>
        <a:buClr>
          <a:schemeClr val="accent1"/>
        </a:buClr>
        <a:buFont typeface="Wingdings" panose="05000000000000000000" pitchFamily="2" charset="2"/>
        <a:buChar char="§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608" indent="-228804" algn="l" defTabSz="915216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>
            <a:lumMod val="65000"/>
            <a:lumOff val="35000"/>
          </a:schemeClr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6412" indent="-228804" algn="l" defTabSz="915216" rtl="0" eaLnBrk="1" latinLnBrk="0" hangingPunct="1">
        <a:lnSpc>
          <a:spcPct val="85000"/>
        </a:lnSpc>
        <a:spcBef>
          <a:spcPts val="200"/>
        </a:spcBef>
        <a:spcAft>
          <a:spcPts val="400"/>
        </a:spcAft>
        <a:buClr>
          <a:schemeClr val="tx1">
            <a:lumMod val="65000"/>
            <a:lumOff val="35000"/>
          </a:schemeClr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5216" indent="-228804" algn="l" defTabSz="915216" rtl="0" eaLnBrk="1" latinLnBrk="0" hangingPunct="1">
        <a:lnSpc>
          <a:spcPct val="85000"/>
        </a:lnSpc>
        <a:spcBef>
          <a:spcPts val="200"/>
        </a:spcBef>
        <a:spcAft>
          <a:spcPts val="400"/>
        </a:spcAft>
        <a:buClr>
          <a:schemeClr val="tx1">
            <a:lumMod val="65000"/>
            <a:lumOff val="35000"/>
          </a:schemeClr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6818" marR="0" indent="-171603" algn="l" defTabSz="915216" rtl="0" eaLnBrk="1" fontAlgn="auto" latinLnBrk="0" hangingPunct="1">
        <a:lnSpc>
          <a:spcPct val="85000"/>
        </a:lnSpc>
        <a:spcBef>
          <a:spcPts val="200"/>
        </a:spcBef>
        <a:spcAft>
          <a:spcPts val="400"/>
        </a:spcAft>
        <a:buClr>
          <a:schemeClr val="tx1">
            <a:lumMod val="65000"/>
            <a:lumOff val="35000"/>
          </a:schemeClr>
        </a:buClr>
        <a:buSzTx/>
        <a:buFont typeface="Wingdings" panose="05000000000000000000" pitchFamily="2" charset="2"/>
        <a:buChar char="§"/>
        <a:tabLst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144018" indent="-228804" algn="l" defTabSz="91521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144018" indent="-228804" algn="l" defTabSz="91521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144018" indent="-228804" algn="l" defTabSz="91521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1144018" indent="-228804" algn="l" defTabSz="91521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52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608" algn="l" defTabSz="9152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5216" algn="l" defTabSz="9152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2822" algn="l" defTabSz="9152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30430" algn="l" defTabSz="9152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8038" algn="l" defTabSz="9152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5646" algn="l" defTabSz="9152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3253" algn="l" defTabSz="9152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60861" algn="l" defTabSz="9152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24">
          <p15:clr>
            <a:srgbClr val="F26B43"/>
          </p15:clr>
        </p15:guide>
        <p15:guide id="2" pos="239">
          <p15:clr>
            <a:srgbClr val="F26B43"/>
          </p15:clr>
        </p15:guide>
        <p15:guide id="3" orient="horz" pos="1283">
          <p15:clr>
            <a:srgbClr val="F26B43"/>
          </p15:clr>
        </p15:guide>
        <p15:guide id="4" pos="7439">
          <p15:clr>
            <a:srgbClr val="F26B43"/>
          </p15:clr>
        </p15:guide>
        <p15:guide id="5" pos="52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3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22.xml"/><Relationship Id="rId4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F7FAFE2-BA11-463B-BFE5-6FC9032F02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olid information</a:t>
            </a:r>
          </a:p>
          <a:p>
            <a:r>
              <a:rPr lang="en-US" dirty="0"/>
              <a:t>Easy to read</a:t>
            </a:r>
          </a:p>
          <a:p>
            <a:r>
              <a:rPr lang="en-US" dirty="0"/>
              <a:t>Graphically and visually pleasing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92C80C4-1CC4-4A6F-AC49-856BB75AB32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Good Executive Summar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D6271F-0CC1-4F0C-929F-4AA95EE2C7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71A5F3-A4FF-4CEE-8215-C08835B585C1}" type="slidenum">
              <a:rPr lang="en-US" smtClean="0">
                <a:solidFill>
                  <a:srgbClr val="A2A5A2">
                    <a:lumMod val="50000"/>
                  </a:srgbClr>
                </a:solidFill>
              </a:rPr>
              <a:pPr/>
              <a:t>1</a:t>
            </a:fld>
            <a:endParaRPr lang="en-US" dirty="0">
              <a:solidFill>
                <a:srgbClr val="A2A5A2">
                  <a:lumMod val="50000"/>
                </a:srgb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82AF47-8169-46DE-BD5B-35CBB9F7B9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solidFill>
                  <a:srgbClr val="A2A5A2">
                    <a:lumMod val="50000"/>
                  </a:srgbClr>
                </a:solidFill>
              </a:rPr>
              <a:t>© 2018 NetApp, Inc. All rights reserved.  </a:t>
            </a:r>
            <a:r>
              <a:rPr lang="en-US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 lang="en-US"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 lang="en-US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 lang="en-US" dirty="0">
              <a:solidFill>
                <a:srgbClr val="A2A5A2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971272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cutive Summary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</p:nvPr>
        </p:nvGraphicFramePr>
        <p:xfrm>
          <a:off x="1826751" y="1145139"/>
          <a:ext cx="8068236" cy="5150224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7481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201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27212">
                <a:tc>
                  <a:txBody>
                    <a:bodyPr/>
                    <a:lstStyle/>
                    <a:p>
                      <a:r>
                        <a:rPr lang="en-US" sz="1050" dirty="0"/>
                        <a:t>Section</a:t>
                      </a:r>
                    </a:p>
                  </a:txBody>
                  <a:tcPr marL="80682" marR="80682" marT="40341" marB="40341"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Details</a:t>
                      </a:r>
                    </a:p>
                  </a:txBody>
                  <a:tcPr marL="80682" marR="80682" marT="40341" marB="4034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2376">
                <a:tc>
                  <a:txBody>
                    <a:bodyPr/>
                    <a:lstStyle/>
                    <a:p>
                      <a:pPr marL="0" lvl="0" indent="-276049"/>
                      <a:r>
                        <a:rPr lang="en-US" sz="1050" b="1" dirty="0"/>
                        <a:t>High</a:t>
                      </a:r>
                      <a:r>
                        <a:rPr lang="en-US" sz="1050" b="1" baseline="0" dirty="0"/>
                        <a:t> Level Process</a:t>
                      </a:r>
                      <a:endParaRPr lang="en-US" sz="1050" b="1" dirty="0"/>
                    </a:p>
                  </a:txBody>
                  <a:tcPr marL="80682" marR="80682" marT="40341" marB="40341"/>
                </a:tc>
                <a:tc>
                  <a:txBody>
                    <a:bodyPr/>
                    <a:lstStyle/>
                    <a:p>
                      <a:pPr marL="342900" indent="-342900">
                        <a:buSzPct val="90000"/>
                        <a:buFont typeface="Wingdings" panose="05000000000000000000" pitchFamily="2" charset="2"/>
                        <a:buChar char="§"/>
                      </a:pPr>
                      <a:r>
                        <a:rPr lang="en-US" sz="1000" dirty="0"/>
                        <a:t>Contains 6 High</a:t>
                      </a:r>
                      <a:r>
                        <a:rPr lang="en-US" sz="1000" baseline="0" dirty="0"/>
                        <a:t> Level Steps</a:t>
                      </a:r>
                    </a:p>
                    <a:p>
                      <a:pPr marL="0" marR="0" lvl="0" indent="0" algn="l" defTabSz="10188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aseline="0" dirty="0"/>
                        <a:t>(</a:t>
                      </a:r>
                      <a:r>
                        <a:rPr lang="en-US" sz="1000" dirty="0"/>
                        <a:t>Inbound Channels</a:t>
                      </a:r>
                      <a:r>
                        <a:rPr lang="en-US" sz="1000" baseline="0" dirty="0"/>
                        <a:t>, </a:t>
                      </a:r>
                      <a:r>
                        <a:rPr lang="en-US" sz="1000" dirty="0"/>
                        <a:t>Create Case, Assign Case,</a:t>
                      </a:r>
                      <a:r>
                        <a:rPr lang="en-US" sz="1000" baseline="0" dirty="0"/>
                        <a:t> </a:t>
                      </a:r>
                      <a:r>
                        <a:rPr lang="en-US" sz="1000" dirty="0"/>
                        <a:t>Work Case,</a:t>
                      </a:r>
                      <a:r>
                        <a:rPr lang="en-US" sz="1000" baseline="0" dirty="0"/>
                        <a:t> </a:t>
                      </a:r>
                      <a:r>
                        <a:rPr lang="en-US" sz="1000" dirty="0"/>
                        <a:t>Resolve Case, Close Case)</a:t>
                      </a:r>
                    </a:p>
                  </a:txBody>
                  <a:tcPr marL="80682" marR="80682" marT="40341" marB="40341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0612">
                <a:tc>
                  <a:txBody>
                    <a:bodyPr/>
                    <a:lstStyle/>
                    <a:p>
                      <a:pPr marL="0" lvl="0" indent="-276049"/>
                      <a:r>
                        <a:rPr lang="en-US" sz="1050" b="1" dirty="0"/>
                        <a:t>Problem</a:t>
                      </a:r>
                      <a:r>
                        <a:rPr lang="en-US" sz="1050" b="1" baseline="0" dirty="0"/>
                        <a:t> Statement</a:t>
                      </a:r>
                      <a:endParaRPr lang="en-US" sz="1050" b="1" dirty="0"/>
                    </a:p>
                  </a:txBody>
                  <a:tcPr marL="80682" marR="80682" marT="40341" marB="40341"/>
                </a:tc>
                <a:tc>
                  <a:txBody>
                    <a:bodyPr/>
                    <a:lstStyle/>
                    <a:p>
                      <a:pPr marL="332533" marR="0" lvl="0" indent="-33253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ase management process optimization opportunity to avoid $48M for 295 TSEs over three years</a:t>
                      </a:r>
                    </a:p>
                    <a:p>
                      <a:pPr marL="332533" marR="0" lvl="0" indent="-33253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urrent system implementation (SAP) does not address case management workflow and is sub-par document repository</a:t>
                      </a:r>
                    </a:p>
                    <a:p>
                      <a:pPr marL="332533" marR="0" lvl="0" indent="-33253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SAP introduced in 2008, not on SAP production release, fully depreciated</a:t>
                      </a:r>
                    </a:p>
                  </a:txBody>
                  <a:tcPr marL="80682" marR="80682" marT="40341" marB="40341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48871">
                <a:tc>
                  <a:txBody>
                    <a:bodyPr/>
                    <a:lstStyle/>
                    <a:p>
                      <a:pPr marL="0" marR="0" lvl="1" indent="-276049" algn="l" defTabSz="10188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/>
                        <a:t>Top Challenges</a:t>
                      </a:r>
                    </a:p>
                  </a:txBody>
                  <a:tcPr marL="80682" marR="80682" marT="40341" marB="40341"/>
                </a:tc>
                <a:tc>
                  <a:txBody>
                    <a:bodyPr/>
                    <a:lstStyle/>
                    <a:p>
                      <a:pPr marL="347663" indent="-347663">
                        <a:buFont typeface="+mj-lt"/>
                        <a:buAutoNum type="arabicPeriod"/>
                      </a:pPr>
                      <a:r>
                        <a:rPr lang="en-US" sz="1000" dirty="0"/>
                        <a:t>Case Management (CM)</a:t>
                      </a:r>
                    </a:p>
                    <a:p>
                      <a:pPr marL="347663" marR="0" indent="-347663" algn="l" defTabSz="10188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000" dirty="0"/>
                        <a:t>Case Reduction via Self Service</a:t>
                      </a:r>
                    </a:p>
                    <a:p>
                      <a:pPr marL="347663" marR="0" indent="-347663" algn="l" defTabSz="10188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000" dirty="0"/>
                        <a:t>Skills-based Routing and Workforce Management</a:t>
                      </a:r>
                    </a:p>
                    <a:p>
                      <a:pPr marL="347663" marR="0" indent="-347663" algn="l" defTabSz="10188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000" dirty="0"/>
                        <a:t>Automated Case Dispatch </a:t>
                      </a:r>
                    </a:p>
                    <a:p>
                      <a:pPr marL="347663" marR="0" indent="-347663" algn="l" defTabSz="10188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000" dirty="0"/>
                        <a:t>Field Engineer Dispatch</a:t>
                      </a:r>
                      <a:r>
                        <a:rPr lang="en-US" sz="1000" baseline="0" dirty="0"/>
                        <a:t> and RMA Efficiency</a:t>
                      </a:r>
                      <a:endParaRPr lang="en-US" sz="1000" dirty="0"/>
                    </a:p>
                    <a:p>
                      <a:pPr marL="347663" marR="0" indent="-347663" algn="l" defTabSz="10188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000" dirty="0"/>
                        <a:t>Aggregated TSE Dashboard</a:t>
                      </a:r>
                    </a:p>
                  </a:txBody>
                  <a:tcPr marL="80682" marR="80682" marT="40341" marB="40341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48871">
                <a:tc>
                  <a:txBody>
                    <a:bodyPr/>
                    <a:lstStyle/>
                    <a:p>
                      <a:pPr marL="0" marR="0" lvl="1" indent="0" algn="l" defTabSz="10188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/>
                        <a:t>Business Strategy</a:t>
                      </a:r>
                    </a:p>
                  </a:txBody>
                  <a:tcPr marL="80682" marR="80682" marT="40341" marB="40341"/>
                </a:tc>
                <a:tc>
                  <a:txBody>
                    <a:bodyPr/>
                    <a:lstStyle/>
                    <a:p>
                      <a:pPr marL="347663" indent="-347663">
                        <a:buFont typeface="+mj-lt"/>
                        <a:buAutoNum type="arabicPeriod"/>
                      </a:pPr>
                      <a:r>
                        <a:rPr lang="en-US" sz="1000" dirty="0"/>
                        <a:t>Provide guided and prescribed workflow for case troubleshooting and resolution.</a:t>
                      </a:r>
                    </a:p>
                    <a:p>
                      <a:pPr marL="347663" indent="-347663">
                        <a:buFont typeface="+mj-lt"/>
                        <a:buAutoNum type="arabicPeriod"/>
                      </a:pPr>
                      <a:r>
                        <a:rPr lang="en-US" sz="1000" dirty="0"/>
                        <a:t>Provide case or queue owners with the relative priority of cases based on configurable rules.</a:t>
                      </a:r>
                    </a:p>
                    <a:p>
                      <a:pPr marL="347663" indent="-347663">
                        <a:buFont typeface="+mj-lt"/>
                        <a:buAutoNum type="arabicPeriod"/>
                      </a:pPr>
                      <a:r>
                        <a:rPr lang="en-US" sz="1000" dirty="0"/>
                        <a:t>Present to the engineer a "360-degree" view of the customer and the contact in the context of the case workflow and across case handovers.</a:t>
                      </a:r>
                    </a:p>
                    <a:p>
                      <a:pPr marL="347663" indent="-347663">
                        <a:buFont typeface="+mj-lt"/>
                        <a:buAutoNum type="arabicPeriod"/>
                      </a:pPr>
                      <a:r>
                        <a:rPr lang="en-US" sz="1000" dirty="0"/>
                        <a:t>Deliver system response within 3 seconds when navigating between screens or returning search results.</a:t>
                      </a:r>
                    </a:p>
                  </a:txBody>
                  <a:tcPr marL="80682" marR="80682" marT="40341" marB="40341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45459">
                <a:tc>
                  <a:txBody>
                    <a:bodyPr/>
                    <a:lstStyle/>
                    <a:p>
                      <a:pPr marL="0" marR="0" lvl="1" indent="0" algn="l" defTabSz="10188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/>
                        <a:t>High Level Architecture Solution</a:t>
                      </a:r>
                    </a:p>
                  </a:txBody>
                  <a:tcPr marL="80682" marR="80682" marT="40341" marB="40341"/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US" sz="1000" dirty="0"/>
                        <a:t>4 key programs are established to address the top 6 Support problems</a:t>
                      </a:r>
                      <a:r>
                        <a:rPr lang="en-US" sz="1000" baseline="0" dirty="0"/>
                        <a:t> and they are: CRM, Support Site (UX Project+), Unified Contact Center, ERP (Oracle 12)</a:t>
                      </a:r>
                      <a:endParaRPr lang="en-US" sz="1000" dirty="0"/>
                    </a:p>
                  </a:txBody>
                  <a:tcPr marL="80682" marR="80682" marT="40341" marB="40341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8941">
                <a:tc>
                  <a:txBody>
                    <a:bodyPr/>
                    <a:lstStyle/>
                    <a:p>
                      <a:pPr marL="0" marR="0" lvl="1" indent="0" algn="l" defTabSz="10188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/>
                        <a:t>Key</a:t>
                      </a:r>
                      <a:r>
                        <a:rPr lang="en-US" sz="1050" b="1" baseline="0" dirty="0"/>
                        <a:t> Metrics</a:t>
                      </a:r>
                      <a:endParaRPr lang="en-US" sz="1050" b="1" dirty="0"/>
                    </a:p>
                  </a:txBody>
                  <a:tcPr marL="80682" marR="80682" marT="40341" marB="40341"/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US" sz="1000" dirty="0"/>
                        <a:t>6 key measures</a:t>
                      </a:r>
                      <a:r>
                        <a:rPr lang="en-US" sz="1000" baseline="0" dirty="0"/>
                        <a:t> (customer satisfaction to case management)</a:t>
                      </a:r>
                      <a:endParaRPr lang="en-US" sz="1000" dirty="0"/>
                    </a:p>
                  </a:txBody>
                  <a:tcPr marL="80682" marR="80682" marT="40341" marB="40341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8941">
                <a:tc>
                  <a:txBody>
                    <a:bodyPr/>
                    <a:lstStyle/>
                    <a:p>
                      <a:pPr marL="0" marR="0" lvl="1" indent="0" algn="l" defTabSz="10188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/>
                        <a:t>Current Architecture</a:t>
                      </a:r>
                    </a:p>
                  </a:txBody>
                  <a:tcPr marL="80682" marR="80682" marT="40341" marB="40341"/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US" sz="1000" dirty="0"/>
                        <a:t>Impacted business capabilities are: 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Issue to Detection to Problem Resolution with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</a:rPr>
                        <a:t> 10 level 3 capabilities</a:t>
                      </a:r>
                      <a:endParaRPr lang="en-US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80682" marR="80682" marT="40341" marB="40341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8941">
                <a:tc>
                  <a:txBody>
                    <a:bodyPr/>
                    <a:lstStyle/>
                    <a:p>
                      <a:r>
                        <a:rPr lang="en-US" sz="1050" b="1" dirty="0"/>
                        <a:t>Target Architecture</a:t>
                      </a:r>
                    </a:p>
                  </a:txBody>
                  <a:tcPr marL="80682" marR="80682" marT="40341" marB="40341"/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US" sz="1000" dirty="0"/>
                        <a:t>Several technologies</a:t>
                      </a:r>
                      <a:r>
                        <a:rPr lang="en-US" sz="1000" baseline="0" dirty="0"/>
                        <a:t> were analyzed, but only recommending 2 platforms</a:t>
                      </a:r>
                      <a:endParaRPr lang="en-US" sz="1000" dirty="0"/>
                    </a:p>
                  </a:txBody>
                  <a:tcPr marL="80682" marR="80682" marT="40341" marB="40341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7938D5-676B-4424-8B52-343AF2A1253B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99752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3030" y="337938"/>
            <a:ext cx="11661637" cy="904795"/>
          </a:xfrm>
        </p:spPr>
        <p:txBody>
          <a:bodyPr/>
          <a:lstStyle/>
          <a:p>
            <a:r>
              <a:rPr lang="en-US" dirty="0"/>
              <a:t>Executive Summar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2</a:t>
            </a:fld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>
                <a:solidFill>
                  <a:srgbClr val="A2A5A2">
                    <a:lumMod val="50000"/>
                  </a:srgbClr>
                </a:solidFill>
              </a:rPr>
              <a:t>© 2018 NetApp, Inc. All rights reserved.  --- NETAPP CONFIDENTIAL ---</a:t>
            </a:r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  <p:sp>
        <p:nvSpPr>
          <p:cNvPr id="18" name="Shape 386"/>
          <p:cNvSpPr/>
          <p:nvPr/>
        </p:nvSpPr>
        <p:spPr>
          <a:xfrm>
            <a:off x="2438400" y="1339831"/>
            <a:ext cx="2928559" cy="42389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25" tIns="45700" rIns="91425" bIns="45700" anchor="ctr" anchorCtr="0">
            <a:noAutofit/>
          </a:bodyPr>
          <a:lstStyle/>
          <a:p>
            <a:pPr algn="ctr">
              <a:lnSpc>
                <a:spcPct val="95000"/>
              </a:lnSpc>
              <a:buClr>
                <a:srgbClr val="FFFFFF"/>
              </a:buClr>
              <a:buSzPct val="25000"/>
              <a:buFont typeface="Arial"/>
              <a:buNone/>
            </a:pPr>
            <a:r>
              <a:rPr lang="en-US" sz="1400" b="1" dirty="0">
                <a:solidFill>
                  <a:srgbClr val="FFFFFF"/>
                </a:solidFill>
              </a:rPr>
              <a:t>Strategy</a:t>
            </a:r>
          </a:p>
        </p:txBody>
      </p:sp>
      <p:sp>
        <p:nvSpPr>
          <p:cNvPr id="25" name="Shape 386"/>
          <p:cNvSpPr/>
          <p:nvPr/>
        </p:nvSpPr>
        <p:spPr>
          <a:xfrm>
            <a:off x="5622321" y="1339831"/>
            <a:ext cx="2928559" cy="423898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25" tIns="45700" rIns="91425" bIns="45700" anchor="ctr" anchorCtr="0">
            <a:noAutofit/>
          </a:bodyPr>
          <a:lstStyle/>
          <a:p>
            <a:pPr algn="ctr">
              <a:lnSpc>
                <a:spcPct val="95000"/>
              </a:lnSpc>
              <a:buClr>
                <a:srgbClr val="FFFFFF"/>
              </a:buClr>
              <a:buSzPct val="25000"/>
              <a:buFont typeface="Arial"/>
              <a:buNone/>
            </a:pPr>
            <a:r>
              <a:rPr lang="en-US" sz="1400" b="1" dirty="0">
                <a:solidFill>
                  <a:srgbClr val="FFFFFF"/>
                </a:solidFill>
              </a:rPr>
              <a:t>FY19 Execution/Deliverables</a:t>
            </a:r>
          </a:p>
        </p:txBody>
      </p:sp>
      <p:sp>
        <p:nvSpPr>
          <p:cNvPr id="26" name="Shape 386"/>
          <p:cNvSpPr/>
          <p:nvPr/>
        </p:nvSpPr>
        <p:spPr>
          <a:xfrm>
            <a:off x="8730041" y="1339831"/>
            <a:ext cx="2928559" cy="423898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25" tIns="45700" rIns="91425" bIns="45700" anchor="ctr" anchorCtr="0">
            <a:noAutofit/>
          </a:bodyPr>
          <a:lstStyle/>
          <a:p>
            <a:pPr algn="ctr">
              <a:lnSpc>
                <a:spcPct val="95000"/>
              </a:lnSpc>
              <a:buClr>
                <a:srgbClr val="FFFFFF"/>
              </a:buClr>
              <a:buSzPct val="25000"/>
              <a:buFont typeface="Arial"/>
              <a:buNone/>
            </a:pPr>
            <a:r>
              <a:rPr lang="en-US" sz="1400" b="1" dirty="0">
                <a:solidFill>
                  <a:srgbClr val="FFFFFF"/>
                </a:solidFill>
              </a:rPr>
              <a:t>Measure of Success</a:t>
            </a:r>
          </a:p>
        </p:txBody>
      </p:sp>
      <p:sp>
        <p:nvSpPr>
          <p:cNvPr id="31" name="Shape 386"/>
          <p:cNvSpPr/>
          <p:nvPr/>
        </p:nvSpPr>
        <p:spPr>
          <a:xfrm>
            <a:off x="263031" y="1934280"/>
            <a:ext cx="1914686" cy="2084636"/>
          </a:xfrm>
          <a:prstGeom prst="rect">
            <a:avLst/>
          </a:prstGeom>
          <a:solidFill>
            <a:srgbClr val="5B6770"/>
          </a:solidFill>
          <a:ln>
            <a:solidFill>
              <a:srgbClr val="5B677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25" tIns="45700" rIns="91425" bIns="45700" anchor="ctr" anchorCtr="0">
            <a:noAutofit/>
          </a:bodyPr>
          <a:lstStyle/>
          <a:p>
            <a:pPr algn="ctr">
              <a:lnSpc>
                <a:spcPct val="95000"/>
              </a:lnSpc>
              <a:buClr>
                <a:srgbClr val="FFFFFF"/>
              </a:buClr>
              <a:buSzPct val="25000"/>
              <a:buFont typeface="Arial"/>
              <a:buNone/>
            </a:pPr>
            <a:r>
              <a:rPr lang="en-US" sz="1400" b="1" dirty="0">
                <a:solidFill>
                  <a:srgbClr val="FFFFFF"/>
                </a:solidFill>
              </a:rPr>
              <a:t>BIG 3</a:t>
            </a:r>
          </a:p>
        </p:txBody>
      </p:sp>
      <p:sp>
        <p:nvSpPr>
          <p:cNvPr id="32" name="Shape 386"/>
          <p:cNvSpPr/>
          <p:nvPr/>
        </p:nvSpPr>
        <p:spPr>
          <a:xfrm>
            <a:off x="263030" y="4114214"/>
            <a:ext cx="1914686" cy="2428423"/>
          </a:xfrm>
          <a:prstGeom prst="rect">
            <a:avLst/>
          </a:prstGeom>
          <a:solidFill>
            <a:srgbClr val="5B6770"/>
          </a:solidFill>
          <a:ln>
            <a:solidFill>
              <a:srgbClr val="5B677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25" tIns="45700" rIns="91425" bIns="45700" anchor="ctr" anchorCtr="0">
            <a:noAutofit/>
          </a:bodyPr>
          <a:lstStyle/>
          <a:p>
            <a:pPr algn="ctr">
              <a:lnSpc>
                <a:spcPct val="95000"/>
              </a:lnSpc>
              <a:buClr>
                <a:srgbClr val="FFFFFF"/>
              </a:buClr>
              <a:buSzPct val="25000"/>
              <a:buFont typeface="Arial"/>
              <a:buNone/>
            </a:pPr>
            <a:r>
              <a:rPr lang="en-US" sz="1400" b="1" dirty="0">
                <a:solidFill>
                  <a:srgbClr val="FFFFFF"/>
                </a:solidFill>
              </a:rPr>
              <a:t>OTHER</a:t>
            </a:r>
          </a:p>
        </p:txBody>
      </p:sp>
      <p:sp>
        <p:nvSpPr>
          <p:cNvPr id="35" name="Shape 386"/>
          <p:cNvSpPr/>
          <p:nvPr/>
        </p:nvSpPr>
        <p:spPr>
          <a:xfrm>
            <a:off x="2438400" y="1887466"/>
            <a:ext cx="2928559" cy="213145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25" tIns="45700" rIns="91425" bIns="45700" anchor="ctr" anchorCtr="0">
            <a:noAutofit/>
          </a:bodyPr>
          <a:lstStyle/>
          <a:p>
            <a:pPr marL="123825" indent="-123825">
              <a:lnSpc>
                <a:spcPct val="95000"/>
              </a:lnSpc>
              <a:spcAft>
                <a:spcPts val="600"/>
              </a:spcAft>
              <a:buSzPct val="100000"/>
              <a:buFont typeface="Wingdings" charset="2"/>
              <a:buChar char="§"/>
            </a:pPr>
            <a:r>
              <a:rPr lang="en-US" sz="1500" dirty="0">
                <a:solidFill>
                  <a:prstClr val="black"/>
                </a:solidFill>
              </a:rPr>
              <a:t>Align business process needs to the Big 3</a:t>
            </a:r>
          </a:p>
          <a:p>
            <a:pPr marL="123825" indent="-123825">
              <a:lnSpc>
                <a:spcPct val="95000"/>
              </a:lnSpc>
              <a:spcAft>
                <a:spcPts val="600"/>
              </a:spcAft>
              <a:buSzPct val="100000"/>
              <a:buFont typeface="Wingdings" charset="2"/>
              <a:buChar char="§"/>
            </a:pPr>
            <a:r>
              <a:rPr lang="en-US" sz="1500" dirty="0">
                <a:solidFill>
                  <a:prstClr val="black"/>
                </a:solidFill>
              </a:rPr>
              <a:t>Enable technology solutions that support Big 3 objectives</a:t>
            </a:r>
          </a:p>
          <a:p>
            <a:pPr marL="123825" indent="-123825">
              <a:lnSpc>
                <a:spcPct val="95000"/>
              </a:lnSpc>
              <a:spcAft>
                <a:spcPts val="600"/>
              </a:spcAft>
              <a:buSzPct val="100000"/>
              <a:buFont typeface="Wingdings" charset="2"/>
              <a:buChar char="§"/>
            </a:pPr>
            <a:r>
              <a:rPr lang="en-US" sz="1500" dirty="0">
                <a:solidFill>
                  <a:prstClr val="black"/>
                </a:solidFill>
              </a:rPr>
              <a:t>Map Customer-1 adoption of technology to the Big 3 </a:t>
            </a:r>
          </a:p>
        </p:txBody>
      </p:sp>
      <p:sp>
        <p:nvSpPr>
          <p:cNvPr id="22" name="Shape 386"/>
          <p:cNvSpPr/>
          <p:nvPr/>
        </p:nvSpPr>
        <p:spPr>
          <a:xfrm>
            <a:off x="5622321" y="1860827"/>
            <a:ext cx="2928559" cy="2158089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25" tIns="45700" rIns="91425" bIns="45700" anchor="ctr" anchorCtr="0">
            <a:noAutofit/>
          </a:bodyPr>
          <a:lstStyle/>
          <a:p>
            <a:pPr marL="111125" indent="-111125">
              <a:lnSpc>
                <a:spcPct val="95000"/>
              </a:lnSpc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500" dirty="0">
                <a:solidFill>
                  <a:prstClr val="black"/>
                </a:solidFill>
              </a:rPr>
              <a:t>Deliver Cloud Data Services technology platform</a:t>
            </a:r>
          </a:p>
          <a:p>
            <a:pPr marL="111125" indent="-111125">
              <a:lnSpc>
                <a:spcPct val="95000"/>
              </a:lnSpc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500" dirty="0">
                <a:solidFill>
                  <a:prstClr val="black"/>
                </a:solidFill>
              </a:rPr>
              <a:t>Develop Customer-1 use cases leveraging data fabric technology</a:t>
            </a:r>
          </a:p>
          <a:p>
            <a:pPr marL="111125" indent="-111125">
              <a:lnSpc>
                <a:spcPct val="95000"/>
              </a:lnSpc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500" dirty="0">
                <a:solidFill>
                  <a:prstClr val="black"/>
                </a:solidFill>
              </a:rPr>
              <a:t>Deliver Sales, Marketing, and Service customer enabling programs </a:t>
            </a:r>
          </a:p>
        </p:txBody>
      </p:sp>
      <p:sp>
        <p:nvSpPr>
          <p:cNvPr id="23" name="Shape 386"/>
          <p:cNvSpPr/>
          <p:nvPr/>
        </p:nvSpPr>
        <p:spPr>
          <a:xfrm>
            <a:off x="8730041" y="1860827"/>
            <a:ext cx="2928559" cy="2158089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25" tIns="45700" rIns="91425" bIns="45700" anchor="ctr" anchorCtr="0">
            <a:noAutofit/>
          </a:bodyPr>
          <a:lstStyle/>
          <a:p>
            <a:pPr marL="111125" indent="-111125">
              <a:lnSpc>
                <a:spcPct val="95000"/>
              </a:lnSpc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500" dirty="0"/>
              <a:t>Delivery of FY20 portfolio</a:t>
            </a:r>
          </a:p>
          <a:p>
            <a:pPr marL="111125" indent="-111125">
              <a:lnSpc>
                <a:spcPct val="95000"/>
              </a:lnSpc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500" dirty="0"/>
              <a:t>Early roadmap success established with CIBU</a:t>
            </a:r>
          </a:p>
          <a:p>
            <a:pPr marL="111125" indent="-111125">
              <a:lnSpc>
                <a:spcPct val="95000"/>
              </a:lnSpc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500" dirty="0"/>
              <a:t>Deliver multiple use cases aligned with respective BUs</a:t>
            </a:r>
          </a:p>
        </p:txBody>
      </p:sp>
      <p:sp>
        <p:nvSpPr>
          <p:cNvPr id="24" name="Shape 386"/>
          <p:cNvSpPr/>
          <p:nvPr/>
        </p:nvSpPr>
        <p:spPr>
          <a:xfrm>
            <a:off x="2438399" y="4166152"/>
            <a:ext cx="2928559" cy="2412212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25" tIns="45700" rIns="91425" bIns="45700" anchor="ctr" anchorCtr="0">
            <a:noAutofit/>
          </a:bodyPr>
          <a:lstStyle/>
          <a:p>
            <a:pPr marL="111125" indent="-111125">
              <a:lnSpc>
                <a:spcPct val="95000"/>
              </a:lnSpc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500" dirty="0">
                <a:solidFill>
                  <a:sysClr val="windowText" lastClr="000000"/>
                </a:solidFill>
              </a:rPr>
              <a:t>Protect NetApp IP via </a:t>
            </a:r>
            <a:r>
              <a:rPr lang="en-US" sz="1500" dirty="0"/>
              <a:t>security</a:t>
            </a:r>
            <a:r>
              <a:rPr lang="en-US" sz="1500" dirty="0">
                <a:solidFill>
                  <a:schemeClr val="accent1"/>
                </a:solidFill>
              </a:rPr>
              <a:t> </a:t>
            </a:r>
            <a:r>
              <a:rPr lang="en-US" sz="1500" dirty="0">
                <a:solidFill>
                  <a:sysClr val="windowText" lastClr="000000"/>
                </a:solidFill>
              </a:rPr>
              <a:t>programs, tools, and awareness</a:t>
            </a:r>
          </a:p>
          <a:p>
            <a:pPr marL="111125" indent="-111125">
              <a:lnSpc>
                <a:spcPct val="95000"/>
              </a:lnSpc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500" dirty="0">
                <a:solidFill>
                  <a:sysClr val="windowText" lastClr="000000"/>
                </a:solidFill>
              </a:rPr>
              <a:t>Simplify via TSA and cloud adoption</a:t>
            </a:r>
          </a:p>
          <a:p>
            <a:pPr marL="111125" indent="-111125">
              <a:lnSpc>
                <a:spcPct val="95000"/>
              </a:lnSpc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500" dirty="0">
                <a:solidFill>
                  <a:sysClr val="windowText" lastClr="000000"/>
                </a:solidFill>
              </a:rPr>
              <a:t>Maintain </a:t>
            </a:r>
            <a:r>
              <a:rPr lang="en-US" sz="1500" dirty="0"/>
              <a:t>stable global  operations </a:t>
            </a:r>
            <a:r>
              <a:rPr lang="en-US" sz="1500" dirty="0">
                <a:solidFill>
                  <a:sysClr val="windowText" lastClr="000000"/>
                </a:solidFill>
              </a:rPr>
              <a:t>across apps and infra at benchmark cost</a:t>
            </a:r>
          </a:p>
        </p:txBody>
      </p:sp>
      <p:sp>
        <p:nvSpPr>
          <p:cNvPr id="27" name="Shape 386"/>
          <p:cNvSpPr/>
          <p:nvPr/>
        </p:nvSpPr>
        <p:spPr>
          <a:xfrm>
            <a:off x="5622321" y="4140988"/>
            <a:ext cx="2928559" cy="2412212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25" tIns="45700" rIns="91425" bIns="45700" anchor="ctr" anchorCtr="0">
            <a:noAutofit/>
          </a:bodyPr>
          <a:lstStyle/>
          <a:p>
            <a:pPr marL="111125" indent="-111125">
              <a:lnSpc>
                <a:spcPct val="95000"/>
              </a:lnSpc>
              <a:buSzPct val="100000"/>
              <a:buFont typeface="Wingdings" panose="05000000000000000000" pitchFamily="2" charset="2"/>
              <a:buChar char="§"/>
            </a:pPr>
            <a:r>
              <a:rPr lang="en-US" sz="1500" dirty="0">
                <a:solidFill>
                  <a:prstClr val="black"/>
                </a:solidFill>
              </a:rPr>
              <a:t>Complete Security transformation in FY20 via tools and business process upgrades</a:t>
            </a:r>
          </a:p>
          <a:p>
            <a:pPr marL="111125" indent="-111125">
              <a:lnSpc>
                <a:spcPct val="95000"/>
              </a:lnSpc>
              <a:buSzPct val="100000"/>
              <a:buFont typeface="Wingdings" panose="05000000000000000000" pitchFamily="2" charset="2"/>
              <a:buChar char="§"/>
            </a:pPr>
            <a:r>
              <a:rPr lang="en-US" sz="1500" dirty="0"/>
              <a:t>Retire unnecessary applications and simplify environment</a:t>
            </a:r>
          </a:p>
          <a:p>
            <a:pPr marL="111125" indent="-111125">
              <a:lnSpc>
                <a:spcPct val="95000"/>
              </a:lnSpc>
              <a:buSzPct val="100000"/>
              <a:buFont typeface="Wingdings" panose="05000000000000000000" pitchFamily="2" charset="2"/>
              <a:buChar char="§"/>
            </a:pPr>
            <a:r>
              <a:rPr lang="en-US" sz="1500" dirty="0"/>
              <a:t>Refresh aging infrastructure</a:t>
            </a:r>
          </a:p>
        </p:txBody>
      </p:sp>
      <p:sp>
        <p:nvSpPr>
          <p:cNvPr id="28" name="Shape 386"/>
          <p:cNvSpPr/>
          <p:nvPr/>
        </p:nvSpPr>
        <p:spPr>
          <a:xfrm>
            <a:off x="8730041" y="4140988"/>
            <a:ext cx="2928559" cy="2412212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25" tIns="45700" rIns="91425" bIns="45700" anchor="ctr" anchorCtr="0">
            <a:noAutofit/>
          </a:bodyPr>
          <a:lstStyle/>
          <a:p>
            <a:pPr marL="111125" indent="-111125">
              <a:lnSpc>
                <a:spcPct val="95000"/>
              </a:lnSpc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500" dirty="0">
                <a:solidFill>
                  <a:prstClr val="black"/>
                </a:solidFill>
              </a:rPr>
              <a:t>IP protected across NetApp BUs and engineering groups</a:t>
            </a:r>
          </a:p>
          <a:p>
            <a:pPr marL="111125" indent="-111125">
              <a:lnSpc>
                <a:spcPct val="95000"/>
              </a:lnSpc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500" dirty="0">
                <a:solidFill>
                  <a:prstClr val="black"/>
                </a:solidFill>
              </a:rPr>
              <a:t>Reduction in application count</a:t>
            </a:r>
          </a:p>
          <a:p>
            <a:pPr marL="111125" indent="-111125">
              <a:lnSpc>
                <a:spcPct val="95000"/>
              </a:lnSpc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500" dirty="0">
                <a:solidFill>
                  <a:prstClr val="black"/>
                </a:solidFill>
              </a:rPr>
              <a:t>Percentage of low cost region FTEs improved</a:t>
            </a:r>
          </a:p>
          <a:p>
            <a:pPr marL="111125" indent="-111125">
              <a:lnSpc>
                <a:spcPct val="95000"/>
              </a:lnSpc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500" dirty="0">
                <a:solidFill>
                  <a:prstClr val="black"/>
                </a:solidFill>
              </a:rPr>
              <a:t>Maintain benchmark </a:t>
            </a:r>
          </a:p>
        </p:txBody>
      </p:sp>
    </p:spTree>
    <p:extLst>
      <p:ext uri="{BB962C8B-B14F-4D97-AF65-F5344CB8AC3E}">
        <p14:creationId xmlns:p14="http://schemas.microsoft.com/office/powerpoint/2010/main" val="2430070745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8FE795D-2E3D-47FA-BCF5-D0DEC74BFB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omprehensive Information	</a:t>
            </a:r>
          </a:p>
          <a:p>
            <a:r>
              <a:rPr lang="en-US" dirty="0"/>
              <a:t>Messy – Not graphically or visually pleasing</a:t>
            </a:r>
          </a:p>
          <a:p>
            <a:r>
              <a:rPr lang="en-US" dirty="0"/>
              <a:t>Hard to know where to look</a:t>
            </a:r>
          </a:p>
          <a:p>
            <a:r>
              <a:rPr lang="en-US" dirty="0"/>
              <a:t>Too much tex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FF12C96-828B-4CE4-86A2-076F0EB1E30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kay Executive Summ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F7C614-B8A2-47BC-BCEF-1B8E4B0038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71A5F3-A4FF-4CEE-8215-C08835B585C1}" type="slidenum">
              <a:rPr lang="en-US" smtClean="0">
                <a:solidFill>
                  <a:srgbClr val="A2A5A2">
                    <a:lumMod val="50000"/>
                  </a:srgbClr>
                </a:solidFill>
              </a:rPr>
              <a:pPr/>
              <a:t>3</a:t>
            </a:fld>
            <a:endParaRPr lang="en-US" dirty="0">
              <a:solidFill>
                <a:srgbClr val="A2A5A2">
                  <a:lumMod val="50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FDF1E2-BB44-4825-8C37-93A5A7F719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solidFill>
                  <a:srgbClr val="A2A5A2">
                    <a:lumMod val="50000"/>
                  </a:srgbClr>
                </a:solidFill>
              </a:rPr>
              <a:t>© 2018 NetApp, Inc. All rights reserved.  </a:t>
            </a:r>
            <a:r>
              <a:rPr lang="en-US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 lang="en-US"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 lang="en-US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 lang="en-US" dirty="0">
              <a:solidFill>
                <a:srgbClr val="A2A5A2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2912706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51457B-0A7E-48AE-9CE5-DB9CE54DCD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cutive Summ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A83303-3626-4688-A7CC-D21276709B88}"/>
              </a:ext>
            </a:extLst>
          </p:cNvPr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r>
              <a:rPr lang="en-US" sz="1400" dirty="0"/>
              <a:t>We must address Capability, Technology and Organizational challenges to achieve our Information Architecture Vis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039FC4E-7CCF-4ADD-80F1-653502C0BF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71A5F3-A4FF-4CEE-8215-C08835B585C1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75E57C-ABB5-4644-BF25-4B51C065B514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828800" y="5105400"/>
            <a:ext cx="8316110" cy="1357174"/>
          </a:xfrm>
        </p:spPr>
        <p:txBody>
          <a:bodyPr/>
          <a:lstStyle/>
          <a:p>
            <a:pPr marL="0" indent="0" algn="ctr">
              <a:buNone/>
            </a:pPr>
            <a:r>
              <a:rPr lang="en-US" dirty="0"/>
              <a:t>NetApp Information Architecture Vision</a:t>
            </a:r>
          </a:p>
          <a:p>
            <a:pPr marL="0" indent="0">
              <a:buNone/>
            </a:pPr>
            <a:r>
              <a:rPr lang="en-US" sz="1800" i="1" dirty="0">
                <a:solidFill>
                  <a:srgbClr val="0067C5"/>
                </a:solidFill>
              </a:rPr>
              <a:t>to provide </a:t>
            </a:r>
            <a:r>
              <a:rPr lang="en-US" sz="1800" b="1" i="1" dirty="0">
                <a:solidFill>
                  <a:srgbClr val="0067C5"/>
                </a:solidFill>
              </a:rPr>
              <a:t>enterprise business intelligence </a:t>
            </a:r>
            <a:r>
              <a:rPr lang="en-US" sz="1800" i="1" dirty="0">
                <a:solidFill>
                  <a:srgbClr val="0067C5"/>
                </a:solidFill>
              </a:rPr>
              <a:t>and </a:t>
            </a:r>
            <a:r>
              <a:rPr lang="en-US" sz="1800" b="1" i="1" dirty="0">
                <a:solidFill>
                  <a:srgbClr val="0067C5"/>
                </a:solidFill>
              </a:rPr>
              <a:t>analytical capabilities in alignment with right technology and operating model </a:t>
            </a:r>
            <a:r>
              <a:rPr lang="en-US" sz="1800" i="1" dirty="0">
                <a:solidFill>
                  <a:srgbClr val="0067C5"/>
                </a:solidFill>
              </a:rPr>
              <a:t>that </a:t>
            </a:r>
            <a:r>
              <a:rPr lang="en-US" sz="1800" b="1" i="1" dirty="0">
                <a:solidFill>
                  <a:srgbClr val="0067C5"/>
                </a:solidFill>
              </a:rPr>
              <a:t>fuels strategic insight</a:t>
            </a:r>
            <a:r>
              <a:rPr lang="en-US" sz="1800" i="1" dirty="0">
                <a:solidFill>
                  <a:srgbClr val="0067C5"/>
                </a:solidFill>
              </a:rPr>
              <a:t>, </a:t>
            </a:r>
            <a:r>
              <a:rPr lang="en-US" sz="1800" b="1" i="1" dirty="0">
                <a:solidFill>
                  <a:srgbClr val="0067C5"/>
                </a:solidFill>
              </a:rPr>
              <a:t>market leadership </a:t>
            </a:r>
            <a:r>
              <a:rPr lang="en-US" sz="1800" i="1" dirty="0">
                <a:solidFill>
                  <a:srgbClr val="0067C5"/>
                </a:solidFill>
              </a:rPr>
              <a:t>and </a:t>
            </a:r>
            <a:r>
              <a:rPr lang="en-US" sz="1800" b="1" i="1" dirty="0">
                <a:solidFill>
                  <a:srgbClr val="0067C5"/>
                </a:solidFill>
              </a:rPr>
              <a:t>competitive advantage </a:t>
            </a:r>
            <a:r>
              <a:rPr lang="en-US" sz="1800" i="1" dirty="0">
                <a:solidFill>
                  <a:srgbClr val="0067C5"/>
                </a:solidFill>
              </a:rPr>
              <a:t>for NetApp</a:t>
            </a:r>
          </a:p>
          <a:p>
            <a:endParaRPr lang="en-US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B04C83F-6B12-4D15-B096-87C28F8FE7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3144" y="6472734"/>
            <a:ext cx="6540464" cy="240489"/>
          </a:xfrm>
        </p:spPr>
        <p:txBody>
          <a:bodyPr/>
          <a:lstStyle/>
          <a:p>
            <a:r>
              <a:rPr lang="en-US" dirty="0"/>
              <a:t>© 2018 NetApp, Inc. All rights reserved.  --- NETAPP CONFIDENTIAL ---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D633A551-E15B-441B-AD63-5661EF010CBB}"/>
              </a:ext>
            </a:extLst>
          </p:cNvPr>
          <p:cNvSpPr/>
          <p:nvPr/>
        </p:nvSpPr>
        <p:spPr>
          <a:xfrm>
            <a:off x="596705" y="1497637"/>
            <a:ext cx="3422317" cy="3327249"/>
          </a:xfrm>
          <a:custGeom>
            <a:avLst/>
            <a:gdLst>
              <a:gd name="connsiteX0" fmla="*/ 0 w 3422317"/>
              <a:gd name="connsiteY0" fmla="*/ 332725 h 3327249"/>
              <a:gd name="connsiteX1" fmla="*/ 332725 w 3422317"/>
              <a:gd name="connsiteY1" fmla="*/ 0 h 3327249"/>
              <a:gd name="connsiteX2" fmla="*/ 3089592 w 3422317"/>
              <a:gd name="connsiteY2" fmla="*/ 0 h 3327249"/>
              <a:gd name="connsiteX3" fmla="*/ 3422317 w 3422317"/>
              <a:gd name="connsiteY3" fmla="*/ 332725 h 3327249"/>
              <a:gd name="connsiteX4" fmla="*/ 3422317 w 3422317"/>
              <a:gd name="connsiteY4" fmla="*/ 2994524 h 3327249"/>
              <a:gd name="connsiteX5" fmla="*/ 3089592 w 3422317"/>
              <a:gd name="connsiteY5" fmla="*/ 3327249 h 3327249"/>
              <a:gd name="connsiteX6" fmla="*/ 332725 w 3422317"/>
              <a:gd name="connsiteY6" fmla="*/ 3327249 h 3327249"/>
              <a:gd name="connsiteX7" fmla="*/ 0 w 3422317"/>
              <a:gd name="connsiteY7" fmla="*/ 2994524 h 3327249"/>
              <a:gd name="connsiteX8" fmla="*/ 0 w 3422317"/>
              <a:gd name="connsiteY8" fmla="*/ 332725 h 3327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22317" h="3327249">
                <a:moveTo>
                  <a:pt x="0" y="332725"/>
                </a:moveTo>
                <a:cubicBezTo>
                  <a:pt x="0" y="148966"/>
                  <a:pt x="148966" y="0"/>
                  <a:pt x="332725" y="0"/>
                </a:cubicBezTo>
                <a:lnTo>
                  <a:pt x="3089592" y="0"/>
                </a:lnTo>
                <a:cubicBezTo>
                  <a:pt x="3273351" y="0"/>
                  <a:pt x="3422317" y="148966"/>
                  <a:pt x="3422317" y="332725"/>
                </a:cubicBezTo>
                <a:lnTo>
                  <a:pt x="3422317" y="2994524"/>
                </a:lnTo>
                <a:cubicBezTo>
                  <a:pt x="3422317" y="3178283"/>
                  <a:pt x="3273351" y="3327249"/>
                  <a:pt x="3089592" y="3327249"/>
                </a:cubicBezTo>
                <a:lnTo>
                  <a:pt x="332725" y="3327249"/>
                </a:lnTo>
                <a:cubicBezTo>
                  <a:pt x="148966" y="3327249"/>
                  <a:pt x="0" y="3178283"/>
                  <a:pt x="0" y="2994524"/>
                </a:cubicBezTo>
                <a:lnTo>
                  <a:pt x="0" y="332725"/>
                </a:lnTo>
                <a:close/>
              </a:path>
            </a:pathLst>
          </a:cu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6680" tIns="106680" rIns="106680" bIns="2435755" numCol="1" spcCol="1270" anchor="ctr" anchorCtr="0">
            <a:noAutofit/>
          </a:bodyPr>
          <a:lstStyle/>
          <a:p>
            <a:pPr marL="0" lvl="0" indent="0"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800" kern="1200" dirty="0"/>
              <a:t>Capability</a:t>
            </a:r>
            <a:endParaRPr lang="en-US" sz="4700" kern="1200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8F30E75-D404-4EC7-A15D-30421FDC1074}"/>
              </a:ext>
            </a:extLst>
          </p:cNvPr>
          <p:cNvSpPr/>
          <p:nvPr/>
        </p:nvSpPr>
        <p:spPr>
          <a:xfrm>
            <a:off x="938937" y="2496786"/>
            <a:ext cx="2737853" cy="1003211"/>
          </a:xfrm>
          <a:custGeom>
            <a:avLst/>
            <a:gdLst>
              <a:gd name="connsiteX0" fmla="*/ 0 w 2737853"/>
              <a:gd name="connsiteY0" fmla="*/ 100321 h 1003211"/>
              <a:gd name="connsiteX1" fmla="*/ 100321 w 2737853"/>
              <a:gd name="connsiteY1" fmla="*/ 0 h 1003211"/>
              <a:gd name="connsiteX2" fmla="*/ 2637532 w 2737853"/>
              <a:gd name="connsiteY2" fmla="*/ 0 h 1003211"/>
              <a:gd name="connsiteX3" fmla="*/ 2737853 w 2737853"/>
              <a:gd name="connsiteY3" fmla="*/ 100321 h 1003211"/>
              <a:gd name="connsiteX4" fmla="*/ 2737853 w 2737853"/>
              <a:gd name="connsiteY4" fmla="*/ 902890 h 1003211"/>
              <a:gd name="connsiteX5" fmla="*/ 2637532 w 2737853"/>
              <a:gd name="connsiteY5" fmla="*/ 1003211 h 1003211"/>
              <a:gd name="connsiteX6" fmla="*/ 100321 w 2737853"/>
              <a:gd name="connsiteY6" fmla="*/ 1003211 h 1003211"/>
              <a:gd name="connsiteX7" fmla="*/ 0 w 2737853"/>
              <a:gd name="connsiteY7" fmla="*/ 902890 h 1003211"/>
              <a:gd name="connsiteX8" fmla="*/ 0 w 2737853"/>
              <a:gd name="connsiteY8" fmla="*/ 100321 h 10032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37853" h="1003211">
                <a:moveTo>
                  <a:pt x="0" y="100321"/>
                </a:moveTo>
                <a:cubicBezTo>
                  <a:pt x="0" y="44915"/>
                  <a:pt x="44915" y="0"/>
                  <a:pt x="100321" y="0"/>
                </a:cubicBezTo>
                <a:lnTo>
                  <a:pt x="2637532" y="0"/>
                </a:lnTo>
                <a:cubicBezTo>
                  <a:pt x="2692938" y="0"/>
                  <a:pt x="2737853" y="44915"/>
                  <a:pt x="2737853" y="100321"/>
                </a:cubicBezTo>
                <a:lnTo>
                  <a:pt x="2737853" y="902890"/>
                </a:lnTo>
                <a:cubicBezTo>
                  <a:pt x="2737853" y="958296"/>
                  <a:pt x="2692938" y="1003211"/>
                  <a:pt x="2637532" y="1003211"/>
                </a:cubicBezTo>
                <a:lnTo>
                  <a:pt x="100321" y="1003211"/>
                </a:lnTo>
                <a:cubicBezTo>
                  <a:pt x="44915" y="1003211"/>
                  <a:pt x="0" y="958296"/>
                  <a:pt x="0" y="902890"/>
                </a:cubicBezTo>
                <a:lnTo>
                  <a:pt x="0" y="100321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4943" tIns="56053" rIns="64943" bIns="56053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 dirty="0"/>
              <a:t>Lack of technology, subject matter expertise  and data literacy in NetApp has resulted in non existent analytical capabilities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97490CDA-2242-4F53-99A3-47E338C0069D}"/>
              </a:ext>
            </a:extLst>
          </p:cNvPr>
          <p:cNvSpPr/>
          <p:nvPr/>
        </p:nvSpPr>
        <p:spPr>
          <a:xfrm>
            <a:off x="938937" y="3654337"/>
            <a:ext cx="2737853" cy="1003211"/>
          </a:xfrm>
          <a:custGeom>
            <a:avLst/>
            <a:gdLst>
              <a:gd name="connsiteX0" fmla="*/ 0 w 2737853"/>
              <a:gd name="connsiteY0" fmla="*/ 100321 h 1003211"/>
              <a:gd name="connsiteX1" fmla="*/ 100321 w 2737853"/>
              <a:gd name="connsiteY1" fmla="*/ 0 h 1003211"/>
              <a:gd name="connsiteX2" fmla="*/ 2637532 w 2737853"/>
              <a:gd name="connsiteY2" fmla="*/ 0 h 1003211"/>
              <a:gd name="connsiteX3" fmla="*/ 2737853 w 2737853"/>
              <a:gd name="connsiteY3" fmla="*/ 100321 h 1003211"/>
              <a:gd name="connsiteX4" fmla="*/ 2737853 w 2737853"/>
              <a:gd name="connsiteY4" fmla="*/ 902890 h 1003211"/>
              <a:gd name="connsiteX5" fmla="*/ 2637532 w 2737853"/>
              <a:gd name="connsiteY5" fmla="*/ 1003211 h 1003211"/>
              <a:gd name="connsiteX6" fmla="*/ 100321 w 2737853"/>
              <a:gd name="connsiteY6" fmla="*/ 1003211 h 1003211"/>
              <a:gd name="connsiteX7" fmla="*/ 0 w 2737853"/>
              <a:gd name="connsiteY7" fmla="*/ 902890 h 1003211"/>
              <a:gd name="connsiteX8" fmla="*/ 0 w 2737853"/>
              <a:gd name="connsiteY8" fmla="*/ 100321 h 10032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37853" h="1003211">
                <a:moveTo>
                  <a:pt x="0" y="100321"/>
                </a:moveTo>
                <a:cubicBezTo>
                  <a:pt x="0" y="44915"/>
                  <a:pt x="44915" y="0"/>
                  <a:pt x="100321" y="0"/>
                </a:cubicBezTo>
                <a:lnTo>
                  <a:pt x="2637532" y="0"/>
                </a:lnTo>
                <a:cubicBezTo>
                  <a:pt x="2692938" y="0"/>
                  <a:pt x="2737853" y="44915"/>
                  <a:pt x="2737853" y="100321"/>
                </a:cubicBezTo>
                <a:lnTo>
                  <a:pt x="2737853" y="902890"/>
                </a:lnTo>
                <a:cubicBezTo>
                  <a:pt x="2737853" y="958296"/>
                  <a:pt x="2692938" y="1003211"/>
                  <a:pt x="2637532" y="1003211"/>
                </a:cubicBezTo>
                <a:lnTo>
                  <a:pt x="100321" y="1003211"/>
                </a:lnTo>
                <a:cubicBezTo>
                  <a:pt x="44915" y="1003211"/>
                  <a:pt x="0" y="958296"/>
                  <a:pt x="0" y="902890"/>
                </a:cubicBezTo>
                <a:lnTo>
                  <a:pt x="0" y="100321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4943" tIns="56053" rIns="64943" bIns="56053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 dirty="0"/>
              <a:t>Enable advanced/predictive /prescriptive/data science/exploration capabilities aligned with right fit IT driven operating model.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B89705BA-827F-412E-97B2-C412D93EF9F4}"/>
              </a:ext>
            </a:extLst>
          </p:cNvPr>
          <p:cNvSpPr/>
          <p:nvPr/>
        </p:nvSpPr>
        <p:spPr>
          <a:xfrm>
            <a:off x="4275696" y="1497637"/>
            <a:ext cx="3422317" cy="3327249"/>
          </a:xfrm>
          <a:custGeom>
            <a:avLst/>
            <a:gdLst>
              <a:gd name="connsiteX0" fmla="*/ 0 w 3422317"/>
              <a:gd name="connsiteY0" fmla="*/ 332725 h 3327249"/>
              <a:gd name="connsiteX1" fmla="*/ 332725 w 3422317"/>
              <a:gd name="connsiteY1" fmla="*/ 0 h 3327249"/>
              <a:gd name="connsiteX2" fmla="*/ 3089592 w 3422317"/>
              <a:gd name="connsiteY2" fmla="*/ 0 h 3327249"/>
              <a:gd name="connsiteX3" fmla="*/ 3422317 w 3422317"/>
              <a:gd name="connsiteY3" fmla="*/ 332725 h 3327249"/>
              <a:gd name="connsiteX4" fmla="*/ 3422317 w 3422317"/>
              <a:gd name="connsiteY4" fmla="*/ 2994524 h 3327249"/>
              <a:gd name="connsiteX5" fmla="*/ 3089592 w 3422317"/>
              <a:gd name="connsiteY5" fmla="*/ 3327249 h 3327249"/>
              <a:gd name="connsiteX6" fmla="*/ 332725 w 3422317"/>
              <a:gd name="connsiteY6" fmla="*/ 3327249 h 3327249"/>
              <a:gd name="connsiteX7" fmla="*/ 0 w 3422317"/>
              <a:gd name="connsiteY7" fmla="*/ 2994524 h 3327249"/>
              <a:gd name="connsiteX8" fmla="*/ 0 w 3422317"/>
              <a:gd name="connsiteY8" fmla="*/ 332725 h 3327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22317" h="3327249">
                <a:moveTo>
                  <a:pt x="0" y="332725"/>
                </a:moveTo>
                <a:cubicBezTo>
                  <a:pt x="0" y="148966"/>
                  <a:pt x="148966" y="0"/>
                  <a:pt x="332725" y="0"/>
                </a:cubicBezTo>
                <a:lnTo>
                  <a:pt x="3089592" y="0"/>
                </a:lnTo>
                <a:cubicBezTo>
                  <a:pt x="3273351" y="0"/>
                  <a:pt x="3422317" y="148966"/>
                  <a:pt x="3422317" y="332725"/>
                </a:cubicBezTo>
                <a:lnTo>
                  <a:pt x="3422317" y="2994524"/>
                </a:lnTo>
                <a:cubicBezTo>
                  <a:pt x="3422317" y="3178283"/>
                  <a:pt x="3273351" y="3327249"/>
                  <a:pt x="3089592" y="3327249"/>
                </a:cubicBezTo>
                <a:lnTo>
                  <a:pt x="332725" y="3327249"/>
                </a:lnTo>
                <a:cubicBezTo>
                  <a:pt x="148966" y="3327249"/>
                  <a:pt x="0" y="3178283"/>
                  <a:pt x="0" y="2994524"/>
                </a:cubicBezTo>
                <a:lnTo>
                  <a:pt x="0" y="332725"/>
                </a:lnTo>
                <a:close/>
              </a:path>
            </a:pathLst>
          </a:cu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6680" tIns="106680" rIns="106680" bIns="2435755" numCol="1" spcCol="1270" anchor="ctr" anchorCtr="0">
            <a:noAutofit/>
          </a:bodyPr>
          <a:lstStyle/>
          <a:p>
            <a:pPr marL="0" lvl="0" indent="0"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800" kern="1200" dirty="0"/>
              <a:t>Technology</a:t>
            </a:r>
            <a:endParaRPr lang="en-US" sz="4700" kern="1200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AFD0F71F-35A5-400D-94C0-1A87432F44F2}"/>
              </a:ext>
            </a:extLst>
          </p:cNvPr>
          <p:cNvSpPr/>
          <p:nvPr/>
        </p:nvSpPr>
        <p:spPr>
          <a:xfrm>
            <a:off x="4617928" y="2496786"/>
            <a:ext cx="2737853" cy="1003211"/>
          </a:xfrm>
          <a:custGeom>
            <a:avLst/>
            <a:gdLst>
              <a:gd name="connsiteX0" fmla="*/ 0 w 2737853"/>
              <a:gd name="connsiteY0" fmla="*/ 100321 h 1003211"/>
              <a:gd name="connsiteX1" fmla="*/ 100321 w 2737853"/>
              <a:gd name="connsiteY1" fmla="*/ 0 h 1003211"/>
              <a:gd name="connsiteX2" fmla="*/ 2637532 w 2737853"/>
              <a:gd name="connsiteY2" fmla="*/ 0 h 1003211"/>
              <a:gd name="connsiteX3" fmla="*/ 2737853 w 2737853"/>
              <a:gd name="connsiteY3" fmla="*/ 100321 h 1003211"/>
              <a:gd name="connsiteX4" fmla="*/ 2737853 w 2737853"/>
              <a:gd name="connsiteY4" fmla="*/ 902890 h 1003211"/>
              <a:gd name="connsiteX5" fmla="*/ 2637532 w 2737853"/>
              <a:gd name="connsiteY5" fmla="*/ 1003211 h 1003211"/>
              <a:gd name="connsiteX6" fmla="*/ 100321 w 2737853"/>
              <a:gd name="connsiteY6" fmla="*/ 1003211 h 1003211"/>
              <a:gd name="connsiteX7" fmla="*/ 0 w 2737853"/>
              <a:gd name="connsiteY7" fmla="*/ 902890 h 1003211"/>
              <a:gd name="connsiteX8" fmla="*/ 0 w 2737853"/>
              <a:gd name="connsiteY8" fmla="*/ 100321 h 10032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37853" h="1003211">
                <a:moveTo>
                  <a:pt x="0" y="100321"/>
                </a:moveTo>
                <a:cubicBezTo>
                  <a:pt x="0" y="44915"/>
                  <a:pt x="44915" y="0"/>
                  <a:pt x="100321" y="0"/>
                </a:cubicBezTo>
                <a:lnTo>
                  <a:pt x="2637532" y="0"/>
                </a:lnTo>
                <a:cubicBezTo>
                  <a:pt x="2692938" y="0"/>
                  <a:pt x="2737853" y="44915"/>
                  <a:pt x="2737853" y="100321"/>
                </a:cubicBezTo>
                <a:lnTo>
                  <a:pt x="2737853" y="902890"/>
                </a:lnTo>
                <a:cubicBezTo>
                  <a:pt x="2737853" y="958296"/>
                  <a:pt x="2692938" y="1003211"/>
                  <a:pt x="2637532" y="1003211"/>
                </a:cubicBezTo>
                <a:lnTo>
                  <a:pt x="100321" y="1003211"/>
                </a:lnTo>
                <a:cubicBezTo>
                  <a:pt x="44915" y="1003211"/>
                  <a:pt x="0" y="958296"/>
                  <a:pt x="0" y="902890"/>
                </a:cubicBezTo>
                <a:lnTo>
                  <a:pt x="0" y="100321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4943" tIns="56053" rIns="64943" bIns="56053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 dirty="0"/>
              <a:t>Lack of investment in modernization has resulted in one size fits all legacy system not supporting new business needs/models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3EA437CC-0194-4113-AAD6-F806F24156AE}"/>
              </a:ext>
            </a:extLst>
          </p:cNvPr>
          <p:cNvSpPr/>
          <p:nvPr/>
        </p:nvSpPr>
        <p:spPr>
          <a:xfrm>
            <a:off x="4617928" y="3654337"/>
            <a:ext cx="2737853" cy="1003211"/>
          </a:xfrm>
          <a:custGeom>
            <a:avLst/>
            <a:gdLst>
              <a:gd name="connsiteX0" fmla="*/ 0 w 2737853"/>
              <a:gd name="connsiteY0" fmla="*/ 100321 h 1003211"/>
              <a:gd name="connsiteX1" fmla="*/ 100321 w 2737853"/>
              <a:gd name="connsiteY1" fmla="*/ 0 h 1003211"/>
              <a:gd name="connsiteX2" fmla="*/ 2637532 w 2737853"/>
              <a:gd name="connsiteY2" fmla="*/ 0 h 1003211"/>
              <a:gd name="connsiteX3" fmla="*/ 2737853 w 2737853"/>
              <a:gd name="connsiteY3" fmla="*/ 100321 h 1003211"/>
              <a:gd name="connsiteX4" fmla="*/ 2737853 w 2737853"/>
              <a:gd name="connsiteY4" fmla="*/ 902890 h 1003211"/>
              <a:gd name="connsiteX5" fmla="*/ 2637532 w 2737853"/>
              <a:gd name="connsiteY5" fmla="*/ 1003211 h 1003211"/>
              <a:gd name="connsiteX6" fmla="*/ 100321 w 2737853"/>
              <a:gd name="connsiteY6" fmla="*/ 1003211 h 1003211"/>
              <a:gd name="connsiteX7" fmla="*/ 0 w 2737853"/>
              <a:gd name="connsiteY7" fmla="*/ 902890 h 1003211"/>
              <a:gd name="connsiteX8" fmla="*/ 0 w 2737853"/>
              <a:gd name="connsiteY8" fmla="*/ 100321 h 10032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37853" h="1003211">
                <a:moveTo>
                  <a:pt x="0" y="100321"/>
                </a:moveTo>
                <a:cubicBezTo>
                  <a:pt x="0" y="44915"/>
                  <a:pt x="44915" y="0"/>
                  <a:pt x="100321" y="0"/>
                </a:cubicBezTo>
                <a:lnTo>
                  <a:pt x="2637532" y="0"/>
                </a:lnTo>
                <a:cubicBezTo>
                  <a:pt x="2692938" y="0"/>
                  <a:pt x="2737853" y="44915"/>
                  <a:pt x="2737853" y="100321"/>
                </a:cubicBezTo>
                <a:lnTo>
                  <a:pt x="2737853" y="902890"/>
                </a:lnTo>
                <a:cubicBezTo>
                  <a:pt x="2737853" y="958296"/>
                  <a:pt x="2692938" y="1003211"/>
                  <a:pt x="2637532" y="1003211"/>
                </a:cubicBezTo>
                <a:lnTo>
                  <a:pt x="100321" y="1003211"/>
                </a:lnTo>
                <a:cubicBezTo>
                  <a:pt x="44915" y="1003211"/>
                  <a:pt x="0" y="958296"/>
                  <a:pt x="0" y="902890"/>
                </a:cubicBezTo>
                <a:lnTo>
                  <a:pt x="0" y="100321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4943" tIns="56053" rIns="64943" bIns="56053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 dirty="0"/>
              <a:t>Map and evaluate supporting technologies by incremental investment in modernization.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9CC043BB-1B4B-4B1A-9104-9B771612A518}"/>
              </a:ext>
            </a:extLst>
          </p:cNvPr>
          <p:cNvSpPr/>
          <p:nvPr/>
        </p:nvSpPr>
        <p:spPr>
          <a:xfrm>
            <a:off x="7956003" y="1497637"/>
            <a:ext cx="3422317" cy="3327249"/>
          </a:xfrm>
          <a:custGeom>
            <a:avLst/>
            <a:gdLst>
              <a:gd name="connsiteX0" fmla="*/ 0 w 3422317"/>
              <a:gd name="connsiteY0" fmla="*/ 332725 h 3327249"/>
              <a:gd name="connsiteX1" fmla="*/ 332725 w 3422317"/>
              <a:gd name="connsiteY1" fmla="*/ 0 h 3327249"/>
              <a:gd name="connsiteX2" fmla="*/ 3089592 w 3422317"/>
              <a:gd name="connsiteY2" fmla="*/ 0 h 3327249"/>
              <a:gd name="connsiteX3" fmla="*/ 3422317 w 3422317"/>
              <a:gd name="connsiteY3" fmla="*/ 332725 h 3327249"/>
              <a:gd name="connsiteX4" fmla="*/ 3422317 w 3422317"/>
              <a:gd name="connsiteY4" fmla="*/ 2994524 h 3327249"/>
              <a:gd name="connsiteX5" fmla="*/ 3089592 w 3422317"/>
              <a:gd name="connsiteY5" fmla="*/ 3327249 h 3327249"/>
              <a:gd name="connsiteX6" fmla="*/ 332725 w 3422317"/>
              <a:gd name="connsiteY6" fmla="*/ 3327249 h 3327249"/>
              <a:gd name="connsiteX7" fmla="*/ 0 w 3422317"/>
              <a:gd name="connsiteY7" fmla="*/ 2994524 h 3327249"/>
              <a:gd name="connsiteX8" fmla="*/ 0 w 3422317"/>
              <a:gd name="connsiteY8" fmla="*/ 332725 h 3327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22317" h="3327249">
                <a:moveTo>
                  <a:pt x="0" y="332725"/>
                </a:moveTo>
                <a:cubicBezTo>
                  <a:pt x="0" y="148966"/>
                  <a:pt x="148966" y="0"/>
                  <a:pt x="332725" y="0"/>
                </a:cubicBezTo>
                <a:lnTo>
                  <a:pt x="3089592" y="0"/>
                </a:lnTo>
                <a:cubicBezTo>
                  <a:pt x="3273351" y="0"/>
                  <a:pt x="3422317" y="148966"/>
                  <a:pt x="3422317" y="332725"/>
                </a:cubicBezTo>
                <a:lnTo>
                  <a:pt x="3422317" y="2994524"/>
                </a:lnTo>
                <a:cubicBezTo>
                  <a:pt x="3422317" y="3178283"/>
                  <a:pt x="3273351" y="3327249"/>
                  <a:pt x="3089592" y="3327249"/>
                </a:cubicBezTo>
                <a:lnTo>
                  <a:pt x="332725" y="3327249"/>
                </a:lnTo>
                <a:cubicBezTo>
                  <a:pt x="148966" y="3327249"/>
                  <a:pt x="0" y="3178283"/>
                  <a:pt x="0" y="2994524"/>
                </a:cubicBezTo>
                <a:lnTo>
                  <a:pt x="0" y="332725"/>
                </a:lnTo>
                <a:close/>
              </a:path>
            </a:pathLst>
          </a:cu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6680" tIns="106680" rIns="106680" bIns="2435755" numCol="1" spcCol="1270" anchor="ctr" anchorCtr="0">
            <a:noAutofit/>
          </a:bodyPr>
          <a:lstStyle/>
          <a:p>
            <a:pPr marL="0" lvl="0" indent="0"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800" kern="1200" dirty="0"/>
              <a:t>Organization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5BDFD1DB-90F5-41FB-9E68-DBB049E3D771}"/>
              </a:ext>
            </a:extLst>
          </p:cNvPr>
          <p:cNvSpPr/>
          <p:nvPr/>
        </p:nvSpPr>
        <p:spPr>
          <a:xfrm>
            <a:off x="8296919" y="2496786"/>
            <a:ext cx="2737853" cy="1003211"/>
          </a:xfrm>
          <a:custGeom>
            <a:avLst/>
            <a:gdLst>
              <a:gd name="connsiteX0" fmla="*/ 0 w 2737853"/>
              <a:gd name="connsiteY0" fmla="*/ 100321 h 1003211"/>
              <a:gd name="connsiteX1" fmla="*/ 100321 w 2737853"/>
              <a:gd name="connsiteY1" fmla="*/ 0 h 1003211"/>
              <a:gd name="connsiteX2" fmla="*/ 2637532 w 2737853"/>
              <a:gd name="connsiteY2" fmla="*/ 0 h 1003211"/>
              <a:gd name="connsiteX3" fmla="*/ 2737853 w 2737853"/>
              <a:gd name="connsiteY3" fmla="*/ 100321 h 1003211"/>
              <a:gd name="connsiteX4" fmla="*/ 2737853 w 2737853"/>
              <a:gd name="connsiteY4" fmla="*/ 902890 h 1003211"/>
              <a:gd name="connsiteX5" fmla="*/ 2637532 w 2737853"/>
              <a:gd name="connsiteY5" fmla="*/ 1003211 h 1003211"/>
              <a:gd name="connsiteX6" fmla="*/ 100321 w 2737853"/>
              <a:gd name="connsiteY6" fmla="*/ 1003211 h 1003211"/>
              <a:gd name="connsiteX7" fmla="*/ 0 w 2737853"/>
              <a:gd name="connsiteY7" fmla="*/ 902890 h 1003211"/>
              <a:gd name="connsiteX8" fmla="*/ 0 w 2737853"/>
              <a:gd name="connsiteY8" fmla="*/ 100321 h 10032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37853" h="1003211">
                <a:moveTo>
                  <a:pt x="0" y="100321"/>
                </a:moveTo>
                <a:cubicBezTo>
                  <a:pt x="0" y="44915"/>
                  <a:pt x="44915" y="0"/>
                  <a:pt x="100321" y="0"/>
                </a:cubicBezTo>
                <a:lnTo>
                  <a:pt x="2637532" y="0"/>
                </a:lnTo>
                <a:cubicBezTo>
                  <a:pt x="2692938" y="0"/>
                  <a:pt x="2737853" y="44915"/>
                  <a:pt x="2737853" y="100321"/>
                </a:cubicBezTo>
                <a:lnTo>
                  <a:pt x="2737853" y="902890"/>
                </a:lnTo>
                <a:cubicBezTo>
                  <a:pt x="2737853" y="958296"/>
                  <a:pt x="2692938" y="1003211"/>
                  <a:pt x="2637532" y="1003211"/>
                </a:cubicBezTo>
                <a:lnTo>
                  <a:pt x="100321" y="1003211"/>
                </a:lnTo>
                <a:cubicBezTo>
                  <a:pt x="44915" y="1003211"/>
                  <a:pt x="0" y="958296"/>
                  <a:pt x="0" y="902890"/>
                </a:cubicBezTo>
                <a:lnTo>
                  <a:pt x="0" y="100321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4943" tIns="56053" rIns="64943" bIns="56053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 dirty="0"/>
              <a:t>Growing need/demand for all reporting  analytical capabilities cannot be met with the centralized ERDM operating model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06223FF7-9083-48C2-B00A-BAEE976E986E}"/>
              </a:ext>
            </a:extLst>
          </p:cNvPr>
          <p:cNvSpPr/>
          <p:nvPr/>
        </p:nvSpPr>
        <p:spPr>
          <a:xfrm>
            <a:off x="8296919" y="3654337"/>
            <a:ext cx="2737853" cy="1003211"/>
          </a:xfrm>
          <a:custGeom>
            <a:avLst/>
            <a:gdLst>
              <a:gd name="connsiteX0" fmla="*/ 0 w 2737853"/>
              <a:gd name="connsiteY0" fmla="*/ 100321 h 1003211"/>
              <a:gd name="connsiteX1" fmla="*/ 100321 w 2737853"/>
              <a:gd name="connsiteY1" fmla="*/ 0 h 1003211"/>
              <a:gd name="connsiteX2" fmla="*/ 2637532 w 2737853"/>
              <a:gd name="connsiteY2" fmla="*/ 0 h 1003211"/>
              <a:gd name="connsiteX3" fmla="*/ 2737853 w 2737853"/>
              <a:gd name="connsiteY3" fmla="*/ 100321 h 1003211"/>
              <a:gd name="connsiteX4" fmla="*/ 2737853 w 2737853"/>
              <a:gd name="connsiteY4" fmla="*/ 902890 h 1003211"/>
              <a:gd name="connsiteX5" fmla="*/ 2637532 w 2737853"/>
              <a:gd name="connsiteY5" fmla="*/ 1003211 h 1003211"/>
              <a:gd name="connsiteX6" fmla="*/ 100321 w 2737853"/>
              <a:gd name="connsiteY6" fmla="*/ 1003211 h 1003211"/>
              <a:gd name="connsiteX7" fmla="*/ 0 w 2737853"/>
              <a:gd name="connsiteY7" fmla="*/ 902890 h 1003211"/>
              <a:gd name="connsiteX8" fmla="*/ 0 w 2737853"/>
              <a:gd name="connsiteY8" fmla="*/ 100321 h 10032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37853" h="1003211">
                <a:moveTo>
                  <a:pt x="0" y="100321"/>
                </a:moveTo>
                <a:cubicBezTo>
                  <a:pt x="0" y="44915"/>
                  <a:pt x="44915" y="0"/>
                  <a:pt x="100321" y="0"/>
                </a:cubicBezTo>
                <a:lnTo>
                  <a:pt x="2637532" y="0"/>
                </a:lnTo>
                <a:cubicBezTo>
                  <a:pt x="2692938" y="0"/>
                  <a:pt x="2737853" y="44915"/>
                  <a:pt x="2737853" y="100321"/>
                </a:cubicBezTo>
                <a:lnTo>
                  <a:pt x="2737853" y="902890"/>
                </a:lnTo>
                <a:cubicBezTo>
                  <a:pt x="2737853" y="958296"/>
                  <a:pt x="2692938" y="1003211"/>
                  <a:pt x="2637532" y="1003211"/>
                </a:cubicBezTo>
                <a:lnTo>
                  <a:pt x="100321" y="1003211"/>
                </a:lnTo>
                <a:cubicBezTo>
                  <a:pt x="44915" y="1003211"/>
                  <a:pt x="0" y="958296"/>
                  <a:pt x="0" y="902890"/>
                </a:cubicBezTo>
                <a:lnTo>
                  <a:pt x="0" y="100321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4943" tIns="56053" rIns="64943" bIns="56053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 dirty="0"/>
              <a:t>Deliver capability based engagement and CoE models</a:t>
            </a: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91B40DE5-37AF-4646-8DEF-FFF304997837}"/>
              </a:ext>
            </a:extLst>
          </p:cNvPr>
          <p:cNvSpPr/>
          <p:nvPr/>
        </p:nvSpPr>
        <p:spPr>
          <a:xfrm>
            <a:off x="-21494" y="3913626"/>
            <a:ext cx="978408" cy="484632"/>
          </a:xfrm>
          <a:prstGeom prst="rightArrow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US" sz="1000" dirty="0"/>
              <a:t>Approach   </a:t>
            </a:r>
          </a:p>
        </p:txBody>
      </p: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76BDDA0E-176B-4415-911E-A73E4DB81AB7}"/>
              </a:ext>
            </a:extLst>
          </p:cNvPr>
          <p:cNvSpPr/>
          <p:nvPr/>
        </p:nvSpPr>
        <p:spPr>
          <a:xfrm>
            <a:off x="-39471" y="2800313"/>
            <a:ext cx="978408" cy="484632"/>
          </a:xfrm>
          <a:prstGeom prst="rightArrow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US" sz="1000" dirty="0"/>
              <a:t>Gaps</a:t>
            </a:r>
          </a:p>
        </p:txBody>
      </p:sp>
    </p:spTree>
    <p:extLst>
      <p:ext uri="{BB962C8B-B14F-4D97-AF65-F5344CB8AC3E}">
        <p14:creationId xmlns:p14="http://schemas.microsoft.com/office/powerpoint/2010/main" val="22367439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3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5B6770"/>
                                      </p:to>
                                    </p:animClr>
                                    <p:set>
                                      <p:cBhvr>
                                        <p:cTn id="14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5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7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5B6770"/>
                                      </p:to>
                                    </p:animClr>
                                    <p:set>
                                      <p:cBhvr>
                                        <p:cTn id="18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9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1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5B6770"/>
                                      </p:to>
                                    </p:animClr>
                                    <p:set>
                                      <p:cBhvr>
                                        <p:cTn id="22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3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3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A87F0A"/>
                                      </p:to>
                                    </p:animClr>
                                    <p:set>
                                      <p:cBhvr>
                                        <p:cTn id="34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5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7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A87F0A"/>
                                      </p:to>
                                    </p:animClr>
                                    <p:set>
                                      <p:cBhvr>
                                        <p:cTn id="38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9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1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A87F0A"/>
                                      </p:to>
                                    </p:animClr>
                                    <p:set>
                                      <p:cBhvr>
                                        <p:cTn id="42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3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8FE795D-2E3D-47FA-BCF5-D0DEC74BFB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asy to read</a:t>
            </a:r>
          </a:p>
          <a:p>
            <a:r>
              <a:rPr lang="en-US" dirty="0"/>
              <a:t>Not graphically/visually pleasing</a:t>
            </a:r>
          </a:p>
          <a:p>
            <a:r>
              <a:rPr lang="en-US" dirty="0"/>
              <a:t>Limited information share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FF12C96-828B-4CE4-86A2-076F0EB1E30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kay Executive Summ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F7C614-B8A2-47BC-BCEF-1B8E4B0038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71A5F3-A4FF-4CEE-8215-C08835B585C1}" type="slidenum">
              <a:rPr lang="en-US" smtClean="0">
                <a:solidFill>
                  <a:srgbClr val="A2A5A2">
                    <a:lumMod val="50000"/>
                  </a:srgbClr>
                </a:solidFill>
              </a:rPr>
              <a:pPr/>
              <a:t>5</a:t>
            </a:fld>
            <a:endParaRPr lang="en-US" dirty="0">
              <a:solidFill>
                <a:srgbClr val="A2A5A2">
                  <a:lumMod val="50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FDF1E2-BB44-4825-8C37-93A5A7F719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solidFill>
                  <a:srgbClr val="A2A5A2">
                    <a:lumMod val="50000"/>
                  </a:srgbClr>
                </a:solidFill>
              </a:rPr>
              <a:t>© 2018 NetApp, Inc. All rights reserved.  </a:t>
            </a:r>
            <a:r>
              <a:rPr lang="en-US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 lang="en-US"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 lang="en-US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 lang="en-US" dirty="0">
              <a:solidFill>
                <a:srgbClr val="A2A5A2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3722822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01AB3AE-958B-434A-A783-7FCF9F81FA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71A5F3-A4FF-4CEE-8215-C08835B585C1}" type="slidenum">
              <a:rPr>
                <a:solidFill>
                  <a:srgbClr val="A2A5A2">
                    <a:lumMod val="50000"/>
                  </a:srgbClr>
                </a:solidFill>
              </a:rPr>
              <a:pPr/>
              <a:t>6</a:t>
            </a:fld>
            <a:endParaRPr dirty="0">
              <a:solidFill>
                <a:srgbClr val="A2A5A2">
                  <a:lumMod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dirty="0">
                <a:solidFill>
                  <a:srgbClr val="A2A5A2">
                    <a:lumMod val="50000"/>
                  </a:srgbClr>
                </a:solidFill>
              </a:rPr>
              <a:t>© 2018 NetApp, Inc. All rights reserved.  — NETAPP CONFIDENTIAL —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3D8070-4307-4E4B-8F8B-21F785DC30E5}"/>
              </a:ext>
            </a:extLst>
          </p:cNvPr>
          <p:cNvSpPr txBox="1"/>
          <p:nvPr/>
        </p:nvSpPr>
        <p:spPr>
          <a:xfrm>
            <a:off x="712664" y="999623"/>
            <a:ext cx="10915456" cy="2373983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spAutoFit/>
          </a:bodyPr>
          <a:lstStyle/>
          <a:p>
            <a:pPr marR="0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Tx/>
              <a:tabLst/>
            </a:pPr>
            <a:endParaRPr kumimoji="0" lang="en-US" sz="2800" b="1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+mn-lt"/>
            </a:endParaRPr>
          </a:p>
          <a:p>
            <a:pPr marL="457200" marR="0" indent="-457200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kumimoji="0" lang="en-US" sz="2000" b="1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n-lt"/>
              </a:rPr>
              <a:t>SAP CRM Case Management upgrade is complete !!</a:t>
            </a:r>
          </a:p>
          <a:p>
            <a:pPr marL="457200" marR="0" indent="-457200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2000" b="1" dirty="0">
                <a:solidFill>
                  <a:srgbClr val="0070C0"/>
                </a:solidFill>
              </a:rPr>
              <a:t>Technical Support Problem Resolution Workflows have significant opportunities to address pain points with compelling business benefits ($6.9 MM/</a:t>
            </a:r>
            <a:r>
              <a:rPr lang="en-US" sz="2000" b="1" dirty="0" err="1">
                <a:solidFill>
                  <a:srgbClr val="0070C0"/>
                </a:solidFill>
              </a:rPr>
              <a:t>yr</a:t>
            </a:r>
            <a:r>
              <a:rPr lang="en-US" sz="2000" b="1" dirty="0">
                <a:solidFill>
                  <a:srgbClr val="0070C0"/>
                </a:solidFill>
              </a:rPr>
              <a:t>)  </a:t>
            </a:r>
          </a:p>
          <a:p>
            <a:pPr marL="457200" marR="0" indent="-457200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2000" b="1" dirty="0">
                <a:solidFill>
                  <a:srgbClr val="0070C0"/>
                </a:solidFill>
              </a:rPr>
              <a:t>Roadmap to address Resolution Flow proposed</a:t>
            </a:r>
          </a:p>
          <a:p>
            <a:pPr marL="457200" marR="0" indent="-457200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2000" b="1" dirty="0">
                <a:solidFill>
                  <a:srgbClr val="0070C0"/>
                </a:solidFill>
              </a:rPr>
              <a:t>Updating Resolution Flow addresses fragmented application landscap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DFF0AE3-F681-480C-9B12-E93CAE1DAC02}"/>
              </a:ext>
            </a:extLst>
          </p:cNvPr>
          <p:cNvSpPr txBox="1"/>
          <p:nvPr/>
        </p:nvSpPr>
        <p:spPr>
          <a:xfrm>
            <a:off x="712664" y="4465984"/>
            <a:ext cx="10915456" cy="1660968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marL="457200" marR="0" indent="-457200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</a:pPr>
            <a:endParaRPr lang="en-US" sz="2800" dirty="0">
              <a:solidFill>
                <a:sysClr val="windowText" lastClr="000000"/>
              </a:solidFill>
            </a:endParaRPr>
          </a:p>
          <a:p>
            <a:pPr marL="457200" marR="0" indent="-457200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2000" dirty="0">
                <a:solidFill>
                  <a:sysClr val="windowText" lastClr="000000"/>
                </a:solidFill>
              </a:rPr>
              <a:t>Roadmap approval and add to AOP </a:t>
            </a:r>
          </a:p>
          <a:p>
            <a:pPr marL="457200" marR="0" indent="-457200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2000" dirty="0">
                <a:solidFill>
                  <a:sysClr val="windowText" lastClr="000000"/>
                </a:solidFill>
              </a:rPr>
              <a:t>Workshops with business to define globally consistent future-state process</a:t>
            </a:r>
          </a:p>
          <a:p>
            <a:pPr marL="457200" marR="0" indent="-457200" algn="l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US" sz="2000" dirty="0">
                <a:solidFill>
                  <a:sysClr val="windowText" lastClr="000000"/>
                </a:solidFill>
              </a:rPr>
              <a:t>Execute Commit – target ~late Jan/early Feb 2019 to enable FY19Q4 start</a:t>
            </a:r>
          </a:p>
        </p:txBody>
      </p:sp>
      <p:sp>
        <p:nvSpPr>
          <p:cNvPr id="17" name="Title 3">
            <a:extLst>
              <a:ext uri="{FF2B5EF4-FFF2-40B4-BE49-F238E27FC236}">
                <a16:creationId xmlns:a16="http://schemas.microsoft.com/office/drawing/2014/main" id="{0B42214C-A0BD-4285-ADA2-09426F26110D}"/>
              </a:ext>
            </a:extLst>
          </p:cNvPr>
          <p:cNvSpPr txBox="1">
            <a:spLocks/>
          </p:cNvSpPr>
          <p:nvPr/>
        </p:nvSpPr>
        <p:spPr>
          <a:xfrm>
            <a:off x="3921610" y="4065485"/>
            <a:ext cx="3850790" cy="742005"/>
          </a:xfrm>
          <a:prstGeom prst="rect">
            <a:avLst/>
          </a:prstGeom>
          <a:solidFill>
            <a:srgbClr val="0070C0"/>
          </a:solidFill>
        </p:spPr>
        <p:txBody>
          <a:bodyPr vert="horz" wrap="square" lIns="91521" tIns="45761" rIns="91521" bIns="45761" rtlCol="0" anchor="ctr">
            <a:noAutofit/>
          </a:bodyPr>
          <a:lstStyle>
            <a:lvl1pPr algn="l" defTabSz="91521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000" b="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200" dirty="0">
                <a:solidFill>
                  <a:schemeClr val="bg1"/>
                </a:solidFill>
              </a:rPr>
              <a:t>Next Step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921610" y="616976"/>
            <a:ext cx="3850790" cy="742005"/>
          </a:xfrm>
          <a:solidFill>
            <a:srgbClr val="0070C0"/>
          </a:solidFill>
        </p:spPr>
        <p:txBody>
          <a:bodyPr anchor="ctr"/>
          <a:lstStyle/>
          <a:p>
            <a:pPr algn="ctr"/>
            <a:r>
              <a:rPr lang="en-US" sz="3200" dirty="0">
                <a:solidFill>
                  <a:schemeClr val="bg1"/>
                </a:solidFill>
              </a:rPr>
              <a:t>Executive Summary</a:t>
            </a:r>
          </a:p>
        </p:txBody>
      </p:sp>
    </p:spTree>
    <p:extLst>
      <p:ext uri="{BB962C8B-B14F-4D97-AF65-F5344CB8AC3E}">
        <p14:creationId xmlns:p14="http://schemas.microsoft.com/office/powerpoint/2010/main" val="3062837905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Executive Summar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0"/>
          </p:nvPr>
        </p:nvSpPr>
        <p:spPr>
          <a:xfrm>
            <a:off x="1747378" y="980288"/>
            <a:ext cx="8548084" cy="400110"/>
          </a:xfrm>
        </p:spPr>
        <p:txBody>
          <a:bodyPr anchor="ctr"/>
          <a:lstStyle/>
          <a:p>
            <a:r>
              <a:rPr lang="en-US" sz="2400" b="1" dirty="0"/>
              <a:t>Application Analysis/Finding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solidFill>
                  <a:srgbClr val="9EA2A2"/>
                </a:solidFill>
              </a:rPr>
              <a:t>© 2015 NetApp, Inc. All rights reserved. NetApp Confidential – Limited Use </a:t>
            </a:r>
            <a:endParaRPr lang="en-US" dirty="0">
              <a:solidFill>
                <a:srgbClr val="9EA2A2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71A5F3-A4FF-4CEE-8215-C08835B585C1}" type="slidenum">
              <a:rPr lang="en-US" smtClean="0">
                <a:solidFill>
                  <a:srgbClr val="9EA2A2">
                    <a:lumMod val="50000"/>
                  </a:srgbClr>
                </a:solidFill>
              </a:rPr>
              <a:pPr/>
              <a:t>7</a:t>
            </a:fld>
            <a:endParaRPr lang="en-US" dirty="0">
              <a:solidFill>
                <a:srgbClr val="9EA2A2">
                  <a:lumMod val="50000"/>
                </a:srgb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060028" y="1671146"/>
            <a:ext cx="8235432" cy="305851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marL="285750" indent="-285750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ysClr val="windowText" lastClr="000000"/>
                </a:solidFill>
              </a:rPr>
              <a:t>We used a “Tiered Application” framework to analyze the direct and indirect costs and extrapolate the headcount opportunities</a:t>
            </a:r>
          </a:p>
          <a:p>
            <a:pPr marL="285750" indent="-285750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0070C0"/>
              </a:buClr>
              <a:buFont typeface="Wingdings" panose="05000000000000000000" pitchFamily="2" charset="2"/>
              <a:buChar char="§"/>
            </a:pPr>
            <a:endParaRPr lang="en-US" sz="2000" dirty="0">
              <a:solidFill>
                <a:sysClr val="windowText" lastClr="000000"/>
              </a:solidFill>
            </a:endParaRPr>
          </a:p>
          <a:p>
            <a:pPr marL="285750" indent="-285750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ysClr val="windowText" lastClr="000000"/>
                </a:solidFill>
              </a:rPr>
              <a:t>Most of the Direct and Indirect Costs are spread across the top platforms – ERP R12 (QE), ERP 11.5.10, SFDC, ASUP, Support Site, SAP, </a:t>
            </a:r>
            <a:r>
              <a:rPr lang="en-US" sz="2000" dirty="0" err="1">
                <a:solidFill>
                  <a:sysClr val="windowText" lastClr="000000"/>
                </a:solidFill>
              </a:rPr>
              <a:t>Peopleosft</a:t>
            </a:r>
            <a:r>
              <a:rPr lang="en-US" sz="2000" dirty="0">
                <a:solidFill>
                  <a:sysClr val="windowText" lastClr="000000"/>
                </a:solidFill>
              </a:rPr>
              <a:t> and Hyperion</a:t>
            </a:r>
          </a:p>
          <a:p>
            <a:pPr marL="285750" indent="-285750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0070C0"/>
              </a:buClr>
              <a:buFont typeface="Wingdings" panose="05000000000000000000" pitchFamily="2" charset="2"/>
              <a:buChar char="§"/>
            </a:pPr>
            <a:endParaRPr lang="en-US" sz="2000" dirty="0">
              <a:solidFill>
                <a:sysClr val="windowText" lastClr="000000"/>
              </a:solidFill>
            </a:endParaRPr>
          </a:p>
          <a:p>
            <a:pPr marL="285750" indent="-285750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ysClr val="windowText" lastClr="000000"/>
                </a:solidFill>
              </a:rPr>
              <a:t>Most of the Direct and </a:t>
            </a:r>
            <a:r>
              <a:rPr lang="en-US" sz="2000" dirty="0" err="1">
                <a:solidFill>
                  <a:sysClr val="windowText" lastClr="000000"/>
                </a:solidFill>
              </a:rPr>
              <a:t>Indirect</a:t>
            </a:r>
            <a:r>
              <a:rPr lang="en-US" sz="2000" dirty="0">
                <a:solidFill>
                  <a:sysClr val="windowText" lastClr="000000"/>
                </a:solidFill>
              </a:rPr>
              <a:t> Costs are associated with Tier 1 Apps</a:t>
            </a:r>
          </a:p>
          <a:p>
            <a:pPr marL="285750" indent="-285750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0070C0"/>
              </a:buClr>
              <a:buFont typeface="Wingdings" panose="05000000000000000000" pitchFamily="2" charset="2"/>
              <a:buChar char="§"/>
            </a:pPr>
            <a:endParaRPr lang="en-US" sz="2000" dirty="0">
              <a:solidFill>
                <a:sysClr val="windowText" lastClr="000000"/>
              </a:solidFill>
            </a:endParaRPr>
          </a:p>
          <a:p>
            <a:pPr marL="285750" indent="-285750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ysClr val="windowText" lastClr="000000"/>
                </a:solidFill>
              </a:rPr>
              <a:t>Most of the employee headcount and salary is associated with Tier 1 Apps</a:t>
            </a:r>
          </a:p>
          <a:p>
            <a:pPr marL="285750" indent="-285750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0070C0"/>
              </a:buClr>
              <a:buFont typeface="Wingdings" panose="05000000000000000000" pitchFamily="2" charset="2"/>
              <a:buChar char="§"/>
            </a:pPr>
            <a:endParaRPr lang="en-US" sz="2000" b="1" i="1" dirty="0">
              <a:solidFill>
                <a:sysClr val="windowText" lastClr="000000"/>
              </a:solidFill>
            </a:endParaRPr>
          </a:p>
          <a:p>
            <a:pPr marL="285750" indent="-285750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0070C0"/>
              </a:buClr>
              <a:buFont typeface="Wingdings" panose="05000000000000000000" pitchFamily="2" charset="2"/>
              <a:buChar char="§"/>
            </a:pPr>
            <a:endParaRPr lang="en-US" sz="2000" b="1" i="1" dirty="0">
              <a:solidFill>
                <a:sysClr val="windowText" lastClr="000000"/>
              </a:solidFill>
            </a:endParaRPr>
          </a:p>
          <a:p>
            <a:pPr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0070C0"/>
              </a:buClr>
            </a:pPr>
            <a:endParaRPr lang="en-US" sz="2000" b="1" i="1" dirty="0">
              <a:solidFill>
                <a:srgbClr val="FF0000"/>
              </a:solidFill>
            </a:endParaRPr>
          </a:p>
          <a:p>
            <a:pPr marL="742950" lvl="1" indent="-285750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0070C0"/>
              </a:buClr>
              <a:buFont typeface="Wingdings" panose="05000000000000000000" pitchFamily="2" charset="2"/>
              <a:buChar char="§"/>
            </a:pPr>
            <a:endParaRPr lang="en-US" sz="2000" dirty="0">
              <a:solidFill>
                <a:sysClr val="windowText" lastClr="000000"/>
              </a:solidFill>
            </a:endParaRPr>
          </a:p>
          <a:p>
            <a:pPr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</a:pPr>
            <a:endParaRPr lang="en-US" sz="2000" dirty="0">
              <a:solidFill>
                <a:sysClr val="windowText" lastClr="000000"/>
              </a:solidFill>
            </a:endParaRPr>
          </a:p>
          <a:p>
            <a:pPr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</a:pPr>
            <a:r>
              <a:rPr lang="en-US" sz="2000" dirty="0">
                <a:solidFill>
                  <a:sysClr val="windowText" lastClr="000000"/>
                </a:solidFill>
              </a:rPr>
              <a:t> </a:t>
            </a:r>
            <a:endParaRPr lang="en-US" sz="2000" dirty="0" err="1">
              <a:solidFill>
                <a:sysClr val="windowText" lastClr="00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021725" y="5486413"/>
            <a:ext cx="5722883" cy="725213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</a:pPr>
            <a:r>
              <a:rPr lang="en-US" b="1" i="1" dirty="0">
                <a:solidFill>
                  <a:srgbClr val="FF0000"/>
                </a:solidFill>
              </a:rPr>
              <a:t>Very little headcount supporting Tier 3 and 4 Apps</a:t>
            </a:r>
          </a:p>
        </p:txBody>
      </p:sp>
    </p:spTree>
    <p:extLst>
      <p:ext uri="{BB962C8B-B14F-4D97-AF65-F5344CB8AC3E}">
        <p14:creationId xmlns:p14="http://schemas.microsoft.com/office/powerpoint/2010/main" val="1839695566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932B9EB-27FB-4289-ADDE-7237955F6BE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omprehensive information</a:t>
            </a:r>
          </a:p>
          <a:p>
            <a:r>
              <a:rPr lang="en-US" dirty="0"/>
              <a:t>Way too much text</a:t>
            </a:r>
          </a:p>
          <a:p>
            <a:r>
              <a:rPr lang="en-US" dirty="0"/>
              <a:t>Have to read line by line</a:t>
            </a:r>
          </a:p>
          <a:p>
            <a:r>
              <a:rPr lang="en-US" dirty="0"/>
              <a:t>No visual interest</a:t>
            </a:r>
          </a:p>
          <a:p>
            <a:r>
              <a:rPr lang="en-US" dirty="0"/>
              <a:t>Not graphically pleas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593C390-C670-4210-8C43-F6B9DBED74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oor Executive Summari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E0402F-CC5E-4FEE-B90D-2A9503B187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71A5F3-A4FF-4CEE-8215-C08835B585C1}" type="slidenum">
              <a:rPr lang="en-US" smtClean="0">
                <a:solidFill>
                  <a:srgbClr val="A2A5A2">
                    <a:lumMod val="50000"/>
                  </a:srgbClr>
                </a:solidFill>
              </a:rPr>
              <a:pPr/>
              <a:t>8</a:t>
            </a:fld>
            <a:endParaRPr lang="en-US" dirty="0">
              <a:solidFill>
                <a:srgbClr val="A2A5A2">
                  <a:lumMod val="50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89BC26-41E4-4161-8C68-ED1AD91512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solidFill>
                  <a:srgbClr val="A2A5A2">
                    <a:lumMod val="50000"/>
                  </a:srgbClr>
                </a:solidFill>
              </a:rPr>
              <a:t>© 2018 NetApp, Inc. All rights reserved.  </a:t>
            </a:r>
            <a:r>
              <a:rPr lang="en-US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r>
              <a:rPr lang="en-US">
                <a:solidFill>
                  <a:srgbClr val="A2A5A2">
                    <a:lumMod val="50000"/>
                  </a:srgbClr>
                </a:solidFill>
              </a:rPr>
              <a:t>NETAPP CONFIDENTIAL </a:t>
            </a:r>
            <a:r>
              <a:rPr lang="en-US">
                <a:solidFill>
                  <a:srgbClr val="A2A5A2">
                    <a:lumMod val="50000"/>
                  </a:srgbClr>
                </a:solidFill>
                <a:cs typeface="Arial" panose="020B0604020202020204" pitchFamily="34" charset="0"/>
              </a:rPr>
              <a:t>— </a:t>
            </a:r>
            <a:endParaRPr lang="en-US" dirty="0">
              <a:solidFill>
                <a:srgbClr val="A2A5A2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208528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CC350D8-07F2-481B-84B6-00189E13ED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CC350D8-07F2-481B-84B6-00189E13ED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A185FF-B044-4BB5-BD7B-413C3EC5843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032A84-E7A7-48A8-8735-D0D367388C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cutive summary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BB7BED6-FACD-4491-A643-BFEFD6F1E1BF}"/>
              </a:ext>
            </a:extLst>
          </p:cNvPr>
          <p:cNvGrpSpPr/>
          <p:nvPr/>
        </p:nvGrpSpPr>
        <p:grpSpPr>
          <a:xfrm>
            <a:off x="10984580" y="63062"/>
            <a:ext cx="1080424" cy="228548"/>
            <a:chOff x="10978165" y="254000"/>
            <a:chExt cx="959835" cy="210314"/>
          </a:xfrm>
          <a:solidFill>
            <a:schemeClr val="accent3">
              <a:lumMod val="40000"/>
              <a:lumOff val="60000"/>
            </a:schemeClr>
          </a:solidFill>
        </p:grpSpPr>
        <p:sp>
          <p:nvSpPr>
            <p:cNvPr id="7" name="StickerRectangle">
              <a:extLst>
                <a:ext uri="{FF2B5EF4-FFF2-40B4-BE49-F238E27FC236}">
                  <a16:creationId xmlns:a16="http://schemas.microsoft.com/office/drawing/2014/main" id="{31D88BA3-6EA3-46DB-BE95-FFDDEE310A75}"/>
                </a:ext>
              </a:extLst>
            </p:cNvPr>
            <p:cNvSpPr/>
            <p:nvPr/>
          </p:nvSpPr>
          <p:spPr>
            <a:xfrm>
              <a:off x="10978165" y="254000"/>
              <a:ext cx="959835" cy="193535"/>
            </a:xfrm>
            <a:prstGeom prst="leftRightArrow">
              <a:avLst>
                <a:gd name="adj1" fmla="val 10000000"/>
                <a:gd name="adj2" fmla="val 0"/>
              </a:avLst>
            </a:prstGeom>
            <a:grpFill/>
            <a:ln w="12700">
              <a:noFill/>
              <a:miter lim="800000"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FFFFFF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38100" tIns="0" rIns="0" bIns="25400" rtlCol="0" anchor="t">
              <a:spAutoFit/>
            </a:bodyPr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rPr>
                <a:t>PRELIMINARY</a:t>
              </a:r>
            </a:p>
          </p:txBody>
        </p:sp>
        <p:cxnSp>
          <p:nvCxnSpPr>
            <p:cNvPr id="8" name="Straight Arrow Connector 7">
              <a:extLst>
                <a:ext uri="{FF2B5EF4-FFF2-40B4-BE49-F238E27FC236}">
                  <a16:creationId xmlns:a16="http://schemas.microsoft.com/office/drawing/2014/main" id="{9BE97F86-8FD0-4DA0-85FA-FBF6CBB298BD}"/>
                </a:ext>
              </a:extLst>
            </p:cNvPr>
            <p:cNvCxnSpPr>
              <a:cxnSpLocks/>
              <a:stCxn id="7" idx="6"/>
              <a:endCxn id="7" idx="4"/>
            </p:cNvCxnSpPr>
            <p:nvPr/>
          </p:nvCxnSpPr>
          <p:spPr>
            <a:xfrm flipH="1">
              <a:off x="10978165" y="447535"/>
              <a:ext cx="959835" cy="0"/>
            </a:xfrm>
            <a:prstGeom prst="straightConnector1">
              <a:avLst/>
            </a:prstGeom>
            <a:grpFill/>
            <a:ln w="19050">
              <a:solidFill>
                <a:srgbClr val="808080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378AC2EB-4A49-4912-8CED-5E3877B9BCEF}"/>
                </a:ext>
              </a:extLst>
            </p:cNvPr>
            <p:cNvCxnSpPr>
              <a:cxnSpLocks/>
              <a:stCxn id="7" idx="2"/>
              <a:endCxn id="7" idx="4"/>
            </p:cNvCxnSpPr>
            <p:nvPr/>
          </p:nvCxnSpPr>
          <p:spPr>
            <a:xfrm>
              <a:off x="10978165" y="254000"/>
              <a:ext cx="0" cy="210314"/>
            </a:xfrm>
            <a:prstGeom prst="straightConnector1">
              <a:avLst/>
            </a:prstGeom>
            <a:grpFill/>
            <a:ln>
              <a:solidFill>
                <a:srgbClr val="808080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Body3 69">
            <a:extLst>
              <a:ext uri="{FF2B5EF4-FFF2-40B4-BE49-F238E27FC236}">
                <a16:creationId xmlns:a16="http://schemas.microsoft.com/office/drawing/2014/main" id="{615D8CA1-07C5-4AAA-A062-3116414C476D}"/>
              </a:ext>
            </a:extLst>
          </p:cNvPr>
          <p:cNvSpPr txBox="1">
            <a:spLocks noChangeAspect="1"/>
          </p:cNvSpPr>
          <p:nvPr>
            <p:custDataLst>
              <p:tags r:id="rId4"/>
            </p:custDataLst>
          </p:nvPr>
        </p:nvSpPr>
        <p:spPr>
          <a:xfrm>
            <a:off x="351144" y="773362"/>
            <a:ext cx="11489713" cy="5553666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292100" lvl="0" indent="-292100" eaLnBrk="1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SzPct val="120000"/>
              <a:buFont typeface="Arial" charset="0"/>
              <a:buChar char="•"/>
              <a:defRPr lang="en-US" sz="2400" dirty="0">
                <a:solidFill>
                  <a:srgbClr val="595959"/>
                </a:solidFill>
                <a:latin typeface="+mn-lt"/>
              </a:defRPr>
            </a:lvl1pPr>
            <a:lvl2pPr marL="741363" lvl="1" indent="-284163" eaLnBrk="1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charset="0"/>
              <a:buChar char="•"/>
              <a:defRPr lang="en-US" sz="2000" dirty="0">
                <a:solidFill>
                  <a:srgbClr val="595959"/>
                </a:solidFill>
                <a:latin typeface="+mn-lt"/>
                <a:cs typeface="+mn-cs"/>
              </a:defRPr>
            </a:lvl2pPr>
            <a:lvl3pPr marL="1206500" lvl="2" indent="-292100" eaLnBrk="1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charset="0"/>
              <a:buChar char="•"/>
              <a:defRPr lang="en-US" dirty="0">
                <a:solidFill>
                  <a:srgbClr val="595959"/>
                </a:solidFill>
                <a:latin typeface="+mn-lt"/>
                <a:cs typeface="+mn-cs"/>
              </a:defRPr>
            </a:lvl3pPr>
            <a:lvl4pPr marL="1655763" lvl="3" indent="-284163" eaLnBrk="1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charset="0"/>
              <a:buChar char="•"/>
              <a:defRPr lang="en-US" sz="1600" dirty="0">
                <a:solidFill>
                  <a:srgbClr val="595959"/>
                </a:solidFill>
                <a:latin typeface="+mn-lt"/>
                <a:cs typeface="+mn-cs"/>
              </a:defRPr>
            </a:lvl4pPr>
            <a:lvl5pPr marL="2057400" lvl="4" indent="-228600" eaLnBrk="1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charset="0"/>
              <a:buChar char="•"/>
              <a:defRPr lang="en-US" sz="1400" dirty="0">
                <a:solidFill>
                  <a:srgbClr val="595959"/>
                </a:solidFill>
                <a:latin typeface="+mn-lt"/>
                <a:cs typeface="+mn-cs"/>
              </a:defRPr>
            </a:lvl5pPr>
            <a:lvl6pPr marL="2514600" lvl="5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lvl="6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lvl="7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1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lvl="8"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charset="0"/>
              <a:buNone/>
              <a:tabLst/>
              <a:defRPr/>
            </a:pPr>
            <a:endParaRPr kumimoji="0" lang="en-US" sz="1250" b="1" i="0" u="none" strike="noStrike" kern="1200" cap="none" spc="0" normalizeH="0" baseline="0" noProof="0" dirty="0">
              <a:ln>
                <a:noFill/>
              </a:ln>
              <a:solidFill>
                <a:srgbClr val="0067C5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64E4283-EF63-4755-BEE6-B510E7A25B76}"/>
              </a:ext>
            </a:extLst>
          </p:cNvPr>
          <p:cNvSpPr txBox="1"/>
          <p:nvPr/>
        </p:nvSpPr>
        <p:spPr>
          <a:xfrm>
            <a:off x="441506" y="738027"/>
            <a:ext cx="11308989" cy="5355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7607" marR="0" lvl="1" indent="-195987" algn="l" defTabSz="913526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67C5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67C5"/>
                </a:solidFill>
                <a:effectLst/>
                <a:uLnTx/>
                <a:uFillTx/>
                <a:latin typeface="Arial"/>
                <a:ea typeface="Arial Unicode MS" pitchFamily="34" charset="-128"/>
              </a:rPr>
              <a:t>Value based renewal rate (referred to as retention rate) demonstrates that NetApp Renewal “health” is worse than we thought </a:t>
            </a:r>
          </a:p>
          <a:p>
            <a:pPr marL="466481" marR="0" lvl="2" indent="-267255" algn="l" defTabSz="913526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67C5"/>
              </a:buClr>
              <a:buSzPct val="120000"/>
              <a:buFont typeface="Arial" charset="0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</a:rPr>
              <a:t>FY18 Renewal Rate (by asset) = 72%, Bookings Performance = 113% of FY18 AOP; 105% of Stretch</a:t>
            </a:r>
          </a:p>
          <a:p>
            <a:pPr marL="466481" marR="0" lvl="2" indent="-267255" algn="l" defTabSz="913526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67C5"/>
              </a:buClr>
              <a:buSzPct val="120000"/>
              <a:buFont typeface="Arial" charset="0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</a:rPr>
              <a:t>FY18 Value Based Renewal Rate (Retention Rate) = 52% and including assumed refresh value = 62-67%</a:t>
            </a:r>
          </a:p>
          <a:p>
            <a:pPr marL="466481" marR="0" lvl="2" indent="-267255" algn="l" defTabSz="913526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67C5"/>
              </a:buClr>
              <a:buSzPct val="120000"/>
              <a:buFont typeface="Arial" charset="0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</a:rPr>
              <a:t>FY18 Value Based Renewal Rate (Retention Rate) is 20-25pp below industry best practice</a:t>
            </a:r>
          </a:p>
          <a:p>
            <a:pPr marL="197607" marR="0" lvl="1" indent="-195987" algn="l" defTabSz="913526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67C5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67C5"/>
                </a:solidFill>
                <a:effectLst/>
                <a:uLnTx/>
                <a:uFillTx/>
                <a:latin typeface="Arial"/>
                <a:ea typeface="Arial Unicode MS" pitchFamily="34" charset="-128"/>
              </a:rPr>
              <a:t>Top 3 areas of value leakage:</a:t>
            </a:r>
          </a:p>
          <a:p>
            <a:pPr marL="466481" marR="0" lvl="2" indent="-267255" algn="l" defTabSz="913526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67C5"/>
              </a:buClr>
              <a:buSzPct val="120000"/>
              <a:buFont typeface="Arial" charset="0"/>
              <a:buChar char="–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</a:rPr>
              <a:t>Customer and Asset Chur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</a:rPr>
              <a:t>: Customer &amp; sales interview indicate poor renewal experience with pricing, quoting, lack of pro-active engagement) and lack of EOS offering </a:t>
            </a:r>
          </a:p>
          <a:p>
            <a:pPr marL="466481" marR="0" lvl="2" indent="-267255" algn="l" defTabSz="913526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67C5"/>
              </a:buClr>
              <a:buSzPct val="120000"/>
              <a:buFont typeface="Arial" charset="0"/>
              <a:buChar char="–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</a:rPr>
              <a:t>Discounting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</a:rPr>
              <a:t>: Incremental discounts offered to partial year and early renewals; additional discounts engineered to meet customer budget (typically based on POS)</a:t>
            </a:r>
          </a:p>
          <a:p>
            <a:pPr marL="466481" marR="0" lvl="2" indent="-267255" algn="l" defTabSz="913526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67C5"/>
              </a:buClr>
              <a:buSzPct val="120000"/>
              <a:buFont typeface="Arial" charset="0"/>
              <a:buChar char="–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</a:rPr>
              <a:t>Ease of doing busines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</a:rPr>
              <a:t>: Lack of visibility on true value of assets and heavy reliance on manual quote requests</a:t>
            </a:r>
          </a:p>
          <a:p>
            <a:pPr marL="197607" marR="0" lvl="1" indent="-195987" algn="l" defTabSz="913526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67C5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67C5"/>
                </a:solidFill>
                <a:effectLst/>
                <a:uLnTx/>
                <a:uFillTx/>
                <a:latin typeface="Arial"/>
                <a:ea typeface="Arial Unicode MS" pitchFamily="34" charset="-128"/>
              </a:rPr>
              <a:t>Next Steps:</a:t>
            </a:r>
          </a:p>
          <a:p>
            <a:pPr marL="466481" marR="0" lvl="2" indent="-267255" algn="l" defTabSz="913526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67C5"/>
              </a:buClr>
              <a:buSzPct val="120000"/>
              <a:buFont typeface="Arial" charset="0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</a:rPr>
              <a:t>Deep dive on selected assets to understand root causes of “value leakage” and refine the initiative list for launching the program</a:t>
            </a:r>
          </a:p>
          <a:p>
            <a:pPr marL="626835" marR="0" lvl="3" indent="-158733" algn="l" defTabSz="913526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67C5"/>
              </a:buClr>
              <a:buSzPct val="120000"/>
              <a:buFont typeface="Arial" charset="0"/>
              <a:buChar char="▫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</a:rPr>
              <a:t>Survey results from 101 customers/partners ; interviewed 30 customers and sales teams</a:t>
            </a:r>
          </a:p>
          <a:p>
            <a:pPr marL="466481" marR="0" lvl="2" indent="-267255" algn="l" defTabSz="913526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67C5"/>
              </a:buClr>
              <a:buSzPct val="120000"/>
              <a:buFont typeface="Arial" charset="0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</a:rPr>
              <a:t>Initial 12 initiatives for rapid roll out or pilot testing plus re-defining FY20 renewal sales motion</a:t>
            </a:r>
          </a:p>
          <a:p>
            <a:pPr marL="466481" marR="0" lvl="2" indent="-267255" algn="l" defTabSz="913526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67C5"/>
              </a:buClr>
              <a:buSzPct val="120000"/>
              <a:buFont typeface="Arial" charset="0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</a:rPr>
              <a:t>Improve retention rate to industry best practice to generate an estimated $120M (strong performer) to $210M (best-in-class HW) in incremental run-rate renewal uplift </a:t>
            </a:r>
          </a:p>
        </p:txBody>
      </p:sp>
    </p:spTree>
    <p:extLst>
      <p:ext uri="{BB962C8B-B14F-4D97-AF65-F5344CB8AC3E}">
        <p14:creationId xmlns:p14="http://schemas.microsoft.com/office/powerpoint/2010/main" val="9201940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LsVKytSMqqf3.0kjRz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9ctce5TxWt9Z33XVFfa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heme/theme1.xml><?xml version="1.0" encoding="utf-8"?>
<a:theme xmlns:a="http://schemas.openxmlformats.org/drawingml/2006/main" name="Light">
  <a:themeElements>
    <a:clrScheme name="Custom 114">
      <a:dk1>
        <a:sysClr val="windowText" lastClr="000000"/>
      </a:dk1>
      <a:lt1>
        <a:sysClr val="window" lastClr="FFFFFF"/>
      </a:lt1>
      <a:dk2>
        <a:srgbClr val="32872D"/>
      </a:dk2>
      <a:lt2>
        <a:srgbClr val="A2A5A2"/>
      </a:lt2>
      <a:accent1>
        <a:srgbClr val="0067C5"/>
      </a:accent1>
      <a:accent2>
        <a:srgbClr val="6DBEDC"/>
      </a:accent2>
      <a:accent3>
        <a:srgbClr val="F6D371"/>
      </a:accent3>
      <a:accent4>
        <a:srgbClr val="EC7653"/>
      </a:accent4>
      <a:accent5>
        <a:srgbClr val="C5271B"/>
      </a:accent5>
      <a:accent6>
        <a:srgbClr val="7A1A92"/>
      </a:accent6>
      <a:hlink>
        <a:srgbClr val="0067C5"/>
      </a:hlink>
      <a:folHlink>
        <a:srgbClr val="A2A5A2"/>
      </a:folHlink>
    </a:clrScheme>
    <a:fontScheme name="NetApp_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Pushpin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180000"/>
                <a:lumMod val="100000"/>
              </a:schemeClr>
            </a:gs>
            <a:gs pos="40000">
              <a:schemeClr val="phClr">
                <a:tint val="60000"/>
                <a:satMod val="130000"/>
                <a:lumMod val="100000"/>
              </a:schemeClr>
            </a:gs>
            <a:gs pos="100000">
              <a:schemeClr val="phClr">
                <a:tint val="96000"/>
                <a:lumMod val="108000"/>
              </a:schemeClr>
            </a:gs>
          </a:gsLst>
          <a:lin ang="5400000" scaled="0"/>
        </a:gradFill>
        <a:gradFill rotWithShape="1">
          <a:gsLst>
            <a:gs pos="0">
              <a:schemeClr val="phClr"/>
            </a:gs>
            <a:gs pos="100000">
              <a:schemeClr val="phClr">
                <a:shade val="76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80000"/>
              <a:lumMod val="9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38100" dir="4800000" sx="98000" sy="98000" rotWithShape="0">
              <a:srgbClr val="000000">
                <a:alpha val="32000"/>
              </a:srgbClr>
            </a:outerShdw>
          </a:effectLst>
        </a:effectStyle>
        <a:effectStyle>
          <a:effectLst>
            <a:outerShdw blurRad="38100" dist="38100" dir="4800000" sx="96000" sy="96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3240000"/>
            </a:lightRig>
          </a:scene3d>
          <a:sp3d>
            <a:bevelT w="28575" h="28575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5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45720" rIns="91440" bIns="45720" rtlCol="0" anchor="t">
        <a:spAutoFit/>
      </a:bodyPr>
      <a:lstStyle>
        <a:defPPr marR="0" algn="l" defTabSz="914400" rtl="0" eaLnBrk="1" fontAlgn="auto" latinLnBrk="0" hangingPunct="1">
          <a:lnSpc>
            <a:spcPct val="95000"/>
          </a:lnSpc>
          <a:spcBef>
            <a:spcPts val="400"/>
          </a:spcBef>
          <a:spcAft>
            <a:spcPts val="200"/>
          </a:spcAft>
          <a:buClr>
            <a:schemeClr val="accent1"/>
          </a:buClr>
          <a:buSzTx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+mn-lt"/>
          </a:defRPr>
        </a:defPPr>
      </a:lstStyle>
    </a:txDef>
  </a:objectDefaults>
  <a:extraClrSchemeLst/>
  <a:custClrLst>
    <a:custClr name="Custom Color 1">
      <a:srgbClr val="00C6A5"/>
    </a:custClr>
    <a:custClr name="Custom Color 2">
      <a:srgbClr val="ECECEC"/>
    </a:custClr>
    <a:custClr name="Custom Color 3">
      <a:srgbClr val="C8C9C7"/>
    </a:custClr>
    <a:custClr name="Custom Color 4">
      <a:srgbClr val="9EA2A2"/>
    </a:custClr>
    <a:custClr name="Custom Color 5">
      <a:srgbClr val="5B6770"/>
    </a:custClr>
    <a:custClr name="Custom Color 6">
      <a:srgbClr val="C8102E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3821</TotalTime>
  <Words>1199</Words>
  <Application>Microsoft Macintosh PowerPoint</Application>
  <PresentationFormat>Widescreen</PresentationFormat>
  <Paragraphs>154</Paragraphs>
  <Slides>1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Courier New</vt:lpstr>
      <vt:lpstr>Wingdings</vt:lpstr>
      <vt:lpstr>Light</vt:lpstr>
      <vt:lpstr>think-cell Slide</vt:lpstr>
      <vt:lpstr>Good Executive Summary</vt:lpstr>
      <vt:lpstr>Executive Summary</vt:lpstr>
      <vt:lpstr>Okay Executive Summary</vt:lpstr>
      <vt:lpstr>Executive Summary</vt:lpstr>
      <vt:lpstr>Okay Executive Summary</vt:lpstr>
      <vt:lpstr>Executive Summary</vt:lpstr>
      <vt:lpstr>Executive Summary</vt:lpstr>
      <vt:lpstr>Poor Executive Summaries</vt:lpstr>
      <vt:lpstr>Executive summary</vt:lpstr>
      <vt:lpstr>Executive Summar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fore You Start—Ensure You Have the Correct Footer</dc:title>
  <dc:creator>Kirk Travel</dc:creator>
  <cp:lastModifiedBy>Hom, Ivan</cp:lastModifiedBy>
  <cp:revision>222</cp:revision>
  <dcterms:created xsi:type="dcterms:W3CDTF">2017-12-21T05:18:36Z</dcterms:created>
  <dcterms:modified xsi:type="dcterms:W3CDTF">2019-08-27T17:06:55Z</dcterms:modified>
</cp:coreProperties>
</file>